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2" r:id="rId5"/>
  </p:sldMasterIdLst>
  <p:notesMasterIdLst>
    <p:notesMasterId r:id="rId7"/>
  </p:notesMasterIdLst>
  <p:sldIdLst>
    <p:sldId id="2147376325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ne Knobel" initials="TK" lastIdx="1" clrIdx="0">
    <p:extLst>
      <p:ext uri="{19B8F6BF-5375-455C-9EA6-DF929625EA0E}">
        <p15:presenceInfo xmlns:p15="http://schemas.microsoft.com/office/powerpoint/2012/main" userId="S::Trine.Knobel@hurdal.kommune.no::d4c0cf39-7a87-4f7c-81bb-fbdad0d553a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ED7D31"/>
    <a:srgbClr val="A09FAB"/>
    <a:srgbClr val="1B19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ddels sti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6D9F66E-5EB9-4882-86FB-DCBF35E3C3E4}" styleName="Middels stil 4 – uthevin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62543" autoAdjust="0"/>
  </p:normalViewPr>
  <p:slideViewPr>
    <p:cSldViewPr snapToGrid="0">
      <p:cViewPr varScale="1">
        <p:scale>
          <a:sx n="59" d="100"/>
          <a:sy n="59" d="100"/>
        </p:scale>
        <p:origin x="1546" y="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E00492-0BD1-445A-9CF0-B4C87C1FA229}" type="datetimeFigureOut">
              <a:rPr lang="nb-NO" smtClean="0"/>
              <a:t>11.06.2025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2A32DA-4665-4DA3-A992-4DFDB5CAD13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14300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DE1EA6-92DC-0090-1CA3-C3B27E71BB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ACF6DF-2E24-9EDB-F116-DA37C7E9DA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46283C-77ED-6142-BB44-F6E1C0D2345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kern="100" dirty="0">
              <a:ea typeface="Calibri"/>
              <a:cs typeface="Calibri"/>
            </a:endParaRPr>
          </a:p>
          <a:p>
            <a:pPr>
              <a:lnSpc>
                <a:spcPct val="114999"/>
              </a:lnSpc>
              <a:spcAft>
                <a:spcPts val="800"/>
              </a:spcAft>
            </a:pPr>
            <a:endParaRPr lang="nb-NO" sz="12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nb-NO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210B6E-2F5B-3AEB-8D28-7136830E459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2A32DA-4665-4DA3-A992-4DFDB5CAD13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887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77394-0A20-4CF6-9066-CFC2C1C9D30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9149" y="389840"/>
            <a:ext cx="8281987" cy="2954655"/>
          </a:xfrm>
        </p:spPr>
        <p:txBody>
          <a:bodyPr anchor="t" anchorCtr="0">
            <a:normAutofit/>
          </a:bodyPr>
          <a:lstStyle>
            <a:lvl1pPr algn="l">
              <a:lnSpc>
                <a:spcPct val="100000"/>
              </a:lnSpc>
              <a:defRPr sz="6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10971F-8922-4B23-9C80-0643D7E3502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59149" y="3536951"/>
            <a:ext cx="8281989" cy="2555874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tx1">
                    <a:alpha val="8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1BC074-1090-47AF-BDE8-3859BF574B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A7947-E287-4738-8C82-07CE4F01EF03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6522F-D41A-4734-8BD1-BD6E5A37D0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D4206-406C-42A3-BBD4-44C043180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82184FF4-7029-4ED7-813A-192E60608764}"/>
              </a:ext>
            </a:extLst>
          </p:cNvPr>
          <p:cNvSpPr>
            <a:spLocks noChangeAspect="1"/>
          </p:cNvSpPr>
          <p:nvPr/>
        </p:nvSpPr>
        <p:spPr>
          <a:xfrm rot="2700000">
            <a:off x="612445" y="481888"/>
            <a:ext cx="1080000" cy="1262947"/>
          </a:xfrm>
          <a:custGeom>
            <a:avLst/>
            <a:gdLst>
              <a:gd name="connsiteX0" fmla="*/ 540000 w 1080000"/>
              <a:gd name="connsiteY0" fmla="*/ 0 h 1262947"/>
              <a:gd name="connsiteX1" fmla="*/ 1080000 w 1080000"/>
              <a:gd name="connsiteY1" fmla="*/ 931034 h 1262947"/>
              <a:gd name="connsiteX2" fmla="*/ 1064374 w 1080000"/>
              <a:gd name="connsiteY2" fmla="*/ 931034 h 1262947"/>
              <a:gd name="connsiteX3" fmla="*/ 1069029 w 1080000"/>
              <a:gd name="connsiteY3" fmla="*/ 938533 h 1262947"/>
              <a:gd name="connsiteX4" fmla="*/ 1080000 w 1080000"/>
              <a:gd name="connsiteY4" fmla="*/ 992947 h 1262947"/>
              <a:gd name="connsiteX5" fmla="*/ 540000 w 1080000"/>
              <a:gd name="connsiteY5" fmla="*/ 1262947 h 1262947"/>
              <a:gd name="connsiteX6" fmla="*/ 0 w 1080000"/>
              <a:gd name="connsiteY6" fmla="*/ 992947 h 1262947"/>
              <a:gd name="connsiteX7" fmla="*/ 10971 w 1080000"/>
              <a:gd name="connsiteY7" fmla="*/ 938533 h 1262947"/>
              <a:gd name="connsiteX8" fmla="*/ 15626 w 1080000"/>
              <a:gd name="connsiteY8" fmla="*/ 931034 h 1262947"/>
              <a:gd name="connsiteX9" fmla="*/ 0 w 1080000"/>
              <a:gd name="connsiteY9" fmla="*/ 931034 h 1262947"/>
              <a:gd name="connsiteX0" fmla="*/ 540000 w 1080000"/>
              <a:gd name="connsiteY0" fmla="*/ 0 h 1262947"/>
              <a:gd name="connsiteX1" fmla="*/ 1080000 w 1080000"/>
              <a:gd name="connsiteY1" fmla="*/ 931034 h 1262947"/>
              <a:gd name="connsiteX2" fmla="*/ 1064374 w 1080000"/>
              <a:gd name="connsiteY2" fmla="*/ 931034 h 1262947"/>
              <a:gd name="connsiteX3" fmla="*/ 1069029 w 1080000"/>
              <a:gd name="connsiteY3" fmla="*/ 938533 h 1262947"/>
              <a:gd name="connsiteX4" fmla="*/ 1080000 w 1080000"/>
              <a:gd name="connsiteY4" fmla="*/ 992947 h 1262947"/>
              <a:gd name="connsiteX5" fmla="*/ 540000 w 1080000"/>
              <a:gd name="connsiteY5" fmla="*/ 1262947 h 1262947"/>
              <a:gd name="connsiteX6" fmla="*/ 0 w 1080000"/>
              <a:gd name="connsiteY6" fmla="*/ 992947 h 1262947"/>
              <a:gd name="connsiteX7" fmla="*/ 10971 w 1080000"/>
              <a:gd name="connsiteY7" fmla="*/ 938533 h 1262947"/>
              <a:gd name="connsiteX8" fmla="*/ 15626 w 1080000"/>
              <a:gd name="connsiteY8" fmla="*/ 931034 h 1262947"/>
              <a:gd name="connsiteX9" fmla="*/ 540000 w 1080000"/>
              <a:gd name="connsiteY9" fmla="*/ 0 h 1262947"/>
              <a:gd name="connsiteX0" fmla="*/ 540000 w 1080000"/>
              <a:gd name="connsiteY0" fmla="*/ 0 h 1262947"/>
              <a:gd name="connsiteX1" fmla="*/ 1064374 w 1080000"/>
              <a:gd name="connsiteY1" fmla="*/ 931034 h 1262947"/>
              <a:gd name="connsiteX2" fmla="*/ 1069029 w 1080000"/>
              <a:gd name="connsiteY2" fmla="*/ 938533 h 1262947"/>
              <a:gd name="connsiteX3" fmla="*/ 1080000 w 1080000"/>
              <a:gd name="connsiteY3" fmla="*/ 992947 h 1262947"/>
              <a:gd name="connsiteX4" fmla="*/ 540000 w 1080000"/>
              <a:gd name="connsiteY4" fmla="*/ 1262947 h 1262947"/>
              <a:gd name="connsiteX5" fmla="*/ 0 w 1080000"/>
              <a:gd name="connsiteY5" fmla="*/ 992947 h 1262947"/>
              <a:gd name="connsiteX6" fmla="*/ 10971 w 1080000"/>
              <a:gd name="connsiteY6" fmla="*/ 938533 h 1262947"/>
              <a:gd name="connsiteX7" fmla="*/ 15626 w 1080000"/>
              <a:gd name="connsiteY7" fmla="*/ 931034 h 1262947"/>
              <a:gd name="connsiteX8" fmla="*/ 540000 w 1080000"/>
              <a:gd name="connsiteY8" fmla="*/ 0 h 1262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080000" h="1262947">
                <a:moveTo>
                  <a:pt x="540000" y="0"/>
                </a:moveTo>
                <a:lnTo>
                  <a:pt x="1064374" y="931034"/>
                </a:lnTo>
                <a:lnTo>
                  <a:pt x="1069029" y="938533"/>
                </a:lnTo>
                <a:cubicBezTo>
                  <a:pt x="1076223" y="956109"/>
                  <a:pt x="1080000" y="974307"/>
                  <a:pt x="1080000" y="992947"/>
                </a:cubicBezTo>
                <a:cubicBezTo>
                  <a:pt x="1080000" y="1142064"/>
                  <a:pt x="838234" y="1262947"/>
                  <a:pt x="540000" y="1262947"/>
                </a:cubicBez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lnTo>
                  <a:pt x="540000" y="0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600000" scaled="0"/>
          </a:gradFill>
          <a:ln>
            <a:noFill/>
          </a:ln>
          <a:effectLst>
            <a:innerShdw blurRad="254000" dist="101600" dir="27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AA7AB09-557C-41AD-9113-FF9F68FA1035}"/>
              </a:ext>
            </a:extLst>
          </p:cNvPr>
          <p:cNvSpPr/>
          <p:nvPr/>
        </p:nvSpPr>
        <p:spPr>
          <a:xfrm rot="8100000">
            <a:off x="626845" y="828962"/>
            <a:ext cx="540000" cy="1080000"/>
          </a:xfrm>
          <a:prstGeom prst="ellipse">
            <a:avLst/>
          </a:prstGeom>
          <a:gradFill>
            <a:gsLst>
              <a:gs pos="100000">
                <a:schemeClr val="bg2">
                  <a:lumMod val="90000"/>
                  <a:lumOff val="10000"/>
                </a:schemeClr>
              </a:gs>
              <a:gs pos="50000">
                <a:schemeClr val="bg2">
                  <a:lumMod val="95000"/>
                  <a:lumOff val="5000"/>
                </a:schemeClr>
              </a:gs>
            </a:gsLst>
            <a:lin ang="5400000" scaled="0"/>
          </a:gra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EF99ECAA-1F11-4937-BBA6-51935AB44C9D}"/>
              </a:ext>
            </a:extLst>
          </p:cNvPr>
          <p:cNvSpPr>
            <a:spLocks noChangeAspect="1"/>
          </p:cNvSpPr>
          <p:nvPr/>
        </p:nvSpPr>
        <p:spPr>
          <a:xfrm>
            <a:off x="1800802" y="247285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9DE9FAB-6BBA-4CFE-B67D-77B47F01ECA4}"/>
              </a:ext>
            </a:extLst>
          </p:cNvPr>
          <p:cNvGrpSpPr/>
          <p:nvPr/>
        </p:nvGrpSpPr>
        <p:grpSpPr>
          <a:xfrm>
            <a:off x="1329952" y="4524379"/>
            <a:ext cx="1980001" cy="1363916"/>
            <a:chOff x="4879602" y="3781429"/>
            <a:chExt cx="1980001" cy="1363916"/>
          </a:xfrm>
        </p:grpSpPr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79FAC916-D9BB-4794-81B4-7C47C67E850D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5005634" y="4191206"/>
              <a:ext cx="1853969" cy="926985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254000" dist="50800" dir="16200000">
                <a:schemeClr val="accent1">
                  <a:lumMod val="40000"/>
                  <a:lumOff val="6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B5CA2231-7A65-4D16-8400-A210CC41DB73}"/>
                </a:ext>
              </a:extLst>
            </p:cNvPr>
            <p:cNvSpPr>
              <a:spLocks noChangeAspect="1"/>
            </p:cNvSpPr>
            <p:nvPr/>
          </p:nvSpPr>
          <p:spPr>
            <a:xfrm rot="18900000" flipV="1">
              <a:off x="4957101" y="4052255"/>
              <a:ext cx="1853969" cy="1093090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40000"/>
              </a:schemeClr>
            </a:solidFill>
            <a:ln>
              <a:noFill/>
            </a:ln>
            <a:effectLst>
              <a:softEdge rad="1905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B089C8C-B82B-4704-88E2-E857A5E21529}"/>
                </a:ext>
              </a:extLst>
            </p:cNvPr>
            <p:cNvSpPr/>
            <p:nvPr/>
          </p:nvSpPr>
          <p:spPr>
            <a:xfrm rot="13500000" flipV="1">
              <a:off x="6040374" y="3601683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434B90C8-5B4D-456E-AD99-80EF748FDD72}"/>
                </a:ext>
              </a:extLst>
            </p:cNvPr>
            <p:cNvSpPr/>
            <p:nvPr/>
          </p:nvSpPr>
          <p:spPr>
            <a:xfrm rot="13500000" flipV="1">
              <a:off x="5059348" y="4582709"/>
              <a:ext cx="107098" cy="466589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048583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879361-B9A1-48F2-9473-23DE30E2D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03906"/>
            <a:ext cx="11090275" cy="1333057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D986779-C2F3-447D-85F7-F6B0E2C97D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8661572-1A59-4E3B-BA65-3329E9468C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EBD84-71F4-4271-8C46-0D47C0A9B12E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EF84F1-99FE-4F0B-9E76-F581C2C1B6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B2D769-16B1-43C4-BF14-3175533511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0838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E56583A-514F-4632-820D-E7EE236A46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73CBBB-7DDC-4437-8C7D-22A1C352027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C69EBF-DA20-4024-8006-B158D571E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0CE1-F450-4107-B2CB-17B18F8A3F4A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BAC8B9-14B5-4DF1-994D-AB47DB3BA0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876582-5F9B-4F5E-AAD5-D608CB68EA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8094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34977E62-B7EF-8B40-8AAE-D6D71ED587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13F5E5F-E249-B34E-AB5A-9328EE901E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72830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A (bildebakgru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Date" hidden="1"/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26" name="Footer" hidden="1"/>
          <p:cNvSpPr>
            <a:spLocks noGrp="1"/>
          </p:cNvSpPr>
          <p:nvPr>
            <p:ph type="ftr" sz="quarter" idx="1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Overlay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91999" cy="6858000"/>
          </a:xfrm>
          <a:solidFill>
            <a:schemeClr val="tx2">
              <a:alpha val="60000"/>
            </a:schemeClr>
          </a:solidFill>
        </p:spPr>
        <p:txBody>
          <a:bodyPr anchor="b" anchorCtr="0"/>
          <a:lstStyle>
            <a:lvl1pPr marL="0" indent="0">
              <a:buFontTx/>
              <a:buNone/>
              <a:defRPr sz="100">
                <a:noFill/>
              </a:defRPr>
            </a:lvl1pPr>
            <a:lvl2pPr marL="4680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9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792000" indent="0">
              <a:buFontTx/>
              <a:buNone/>
              <a:defRPr>
                <a:solidFill>
                  <a:schemeClr val="bg1"/>
                </a:solidFill>
              </a:defRPr>
            </a:lvl4pPr>
            <a:lvl5pPr marL="7920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Disclaimer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2232000" tIns="180000" rIns="2232000"/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sz="1800"/>
              <a:t>Klikk på plassholderen og sett inn bilde via BrandMaster. For å få fargefilter på bildet, høyreklikk på innsatt bilde og velg Plasser lengst bak.</a:t>
            </a:r>
            <a:endParaRPr lang="nb-NO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D60F59-26C6-4F97-B22D-E4B518D1F1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1903412"/>
            <a:ext cx="7000113" cy="1637149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3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9A0BDBAE-6D51-46F7-9D0B-BE0F20293CF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00" y="3708000"/>
            <a:ext cx="7000110" cy="900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nb-NO"/>
              <a:t>Klikk for å legge til en undertittel </a:t>
            </a:r>
          </a:p>
        </p:txBody>
      </p:sp>
      <p:sp>
        <p:nvSpPr>
          <p:cNvPr id="18" name="Marker top TP17">
            <a:extLst>
              <a:ext uri="{FF2B5EF4-FFF2-40B4-BE49-F238E27FC236}">
                <a16:creationId xmlns:a16="http://schemas.microsoft.com/office/drawing/2014/main" id="{017B6595-2F6F-47EC-8B06-13A3E1ACC24F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788400" y="0"/>
            <a:ext cx="169200" cy="1410400"/>
          </a:xfrm>
          <a:custGeom>
            <a:avLst/>
            <a:gdLst>
              <a:gd name="connsiteX0" fmla="*/ 0 w 169200"/>
              <a:gd name="connsiteY0" fmla="*/ 0 h 1410400"/>
              <a:gd name="connsiteX1" fmla="*/ 169200 w 169200"/>
              <a:gd name="connsiteY1" fmla="*/ 0 h 1410400"/>
              <a:gd name="connsiteX2" fmla="*/ 169200 w 169200"/>
              <a:gd name="connsiteY2" fmla="*/ 1290426 h 1410400"/>
              <a:gd name="connsiteX3" fmla="*/ 0 w 169200"/>
              <a:gd name="connsiteY3" fmla="*/ 1410400 h 1410400"/>
              <a:gd name="connsiteX4" fmla="*/ 0 w 169200"/>
              <a:gd name="connsiteY4" fmla="*/ 1067982 h 1410400"/>
              <a:gd name="connsiteX5" fmla="*/ 0 w 169200"/>
              <a:gd name="connsiteY5" fmla="*/ 761974 h 1410400"/>
              <a:gd name="connsiteX6" fmla="*/ 0 w 169200"/>
              <a:gd name="connsiteY6" fmla="*/ 581107 h 1410400"/>
              <a:gd name="connsiteX7" fmla="*/ 0 w 169200"/>
              <a:gd name="connsiteY7" fmla="*/ 419556 h 141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200" h="1410400">
                <a:moveTo>
                  <a:pt x="0" y="0"/>
                </a:moveTo>
                <a:lnTo>
                  <a:pt x="169200" y="0"/>
                </a:lnTo>
                <a:lnTo>
                  <a:pt x="169200" y="1290426"/>
                </a:lnTo>
                <a:lnTo>
                  <a:pt x="0" y="1410400"/>
                </a:lnTo>
                <a:lnTo>
                  <a:pt x="0" y="1067982"/>
                </a:lnTo>
                <a:lnTo>
                  <a:pt x="0" y="761974"/>
                </a:lnTo>
                <a:lnTo>
                  <a:pt x="0" y="581107"/>
                </a:lnTo>
                <a:lnTo>
                  <a:pt x="0" y="419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1" name="Marker bottom TP20">
            <a:extLst>
              <a:ext uri="{FF2B5EF4-FFF2-40B4-BE49-F238E27FC236}">
                <a16:creationId xmlns:a16="http://schemas.microsoft.com/office/drawing/2014/main" id="{4DCE0251-F021-47DD-B0D2-CD913A321827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788400" y="6027068"/>
            <a:ext cx="169200" cy="834532"/>
          </a:xfrm>
          <a:custGeom>
            <a:avLst/>
            <a:gdLst>
              <a:gd name="connsiteX0" fmla="*/ 169200 w 169200"/>
              <a:gd name="connsiteY0" fmla="*/ 0 h 834532"/>
              <a:gd name="connsiteX1" fmla="*/ 169200 w 169200"/>
              <a:gd name="connsiteY1" fmla="*/ 321812 h 834532"/>
              <a:gd name="connsiteX2" fmla="*/ 169200 w 169200"/>
              <a:gd name="connsiteY2" fmla="*/ 495070 h 834532"/>
              <a:gd name="connsiteX3" fmla="*/ 169200 w 169200"/>
              <a:gd name="connsiteY3" fmla="*/ 643624 h 834532"/>
              <a:gd name="connsiteX4" fmla="*/ 169200 w 169200"/>
              <a:gd name="connsiteY4" fmla="*/ 834532 h 834532"/>
              <a:gd name="connsiteX5" fmla="*/ 0 w 169200"/>
              <a:gd name="connsiteY5" fmla="*/ 834532 h 834532"/>
              <a:gd name="connsiteX6" fmla="*/ 0 w 169200"/>
              <a:gd name="connsiteY6" fmla="*/ 643624 h 834532"/>
              <a:gd name="connsiteX7" fmla="*/ 0 w 169200"/>
              <a:gd name="connsiteY7" fmla="*/ 615043 h 834532"/>
              <a:gd name="connsiteX8" fmla="*/ 0 w 169200"/>
              <a:gd name="connsiteY8" fmla="*/ 441786 h 834532"/>
              <a:gd name="connsiteX9" fmla="*/ 0 w 169200"/>
              <a:gd name="connsiteY9" fmla="*/ 119974 h 83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9200" h="834532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834532"/>
                </a:lnTo>
                <a:lnTo>
                  <a:pt x="0" y="834532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4DF733-0264-4071-A479-EDEC276EBDE0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fargefilter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Sett inn bilde først, høyreklikk på 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Plasser lengst ba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Klikk så på fargefilter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</a:t>
            </a:r>
            <a:endParaRPr lang="nb-NO"/>
          </a:p>
        </p:txBody>
      </p:sp>
      <p:sp>
        <p:nvSpPr>
          <p:cNvPr id="31" name="Disclaimer" descr="{&quot;templafy&quot;:{&quot;id&quot;:&quot;ecdca0a4-7260-4355-a857-2d2794c624b2&quot;}}">
            <a:extLst>
              <a:ext uri="{FF2B5EF4-FFF2-40B4-BE49-F238E27FC236}">
                <a16:creationId xmlns:a16="http://schemas.microsoft.com/office/drawing/2014/main" id="{F6C85AAB-8A6C-4BF5-899F-1C4DB59FFA82}"/>
              </a:ext>
            </a:extLst>
          </p:cNvPr>
          <p:cNvSpPr/>
          <p:nvPr userDrawn="1"/>
        </p:nvSpPr>
        <p:spPr bwMode="auto">
          <a:xfrm>
            <a:off x="1116014" y="6242400"/>
            <a:ext cx="5951538" cy="4487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850" b="0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</a:rPr>
              <a:t>Alt innhold i denne presentasjonen tilhører BDO AS eller BDO Advokater AS og skal ikke kopieres eller distribueres uten vårt skriftlige samtykke.</a:t>
            </a:r>
            <a:endParaRPr lang="nb-NO"/>
          </a:p>
        </p:txBody>
      </p:sp>
      <p:pic>
        <p:nvPicPr>
          <p:cNvPr id="17" name="Logo" descr="{&quot;templafy&quot;:{&quot;id&quot;:&quot;c5305a09-81c4-40c7-97e5-ed689bb08e83&quot;}}">
            <a:extLst>
              <a:ext uri="{FF2B5EF4-FFF2-40B4-BE49-F238E27FC236}">
                <a16:creationId xmlns:a16="http://schemas.microsoft.com/office/drawing/2014/main" id="{79679441-6602-4DCD-ADC4-73AB8AE001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17943" y="6164541"/>
            <a:ext cx="857325" cy="498197"/>
          </a:xfrm>
          <a:prstGeom prst="rect">
            <a:avLst/>
          </a:prstGeom>
        </p:spPr>
      </p:pic>
      <p:sp>
        <p:nvSpPr>
          <p:cNvPr id="24" name="Name">
            <a:extLst>
              <a:ext uri="{FF2B5EF4-FFF2-40B4-BE49-F238E27FC236}">
                <a16:creationId xmlns:a16="http://schemas.microsoft.com/office/drawing/2014/main" id="{32A6B612-1EA5-4C08-B5C2-D311935EA96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116014" y="5952141"/>
            <a:ext cx="5951538" cy="16137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850" b="0" kern="1200" cap="all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all" baseline="0">
                <a:solidFill>
                  <a:schemeClr val="tx1"/>
                </a:solidFill>
              </a:defRPr>
            </a:lvl2pPr>
            <a:lvl3pPr>
              <a:defRPr sz="1600" b="0" cap="all" baseline="0">
                <a:solidFill>
                  <a:schemeClr val="bg1"/>
                </a:solidFill>
              </a:defRPr>
            </a:lvl3pPr>
            <a:lvl4pPr>
              <a:defRPr sz="1600" b="0" cap="all" baseline="0">
                <a:solidFill>
                  <a:schemeClr val="bg1"/>
                </a:solidFill>
              </a:defRPr>
            </a:lvl4pPr>
            <a:lvl5pPr>
              <a:defRPr sz="1600" b="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Forfatternavn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8F270DD-EA94-453A-B320-564DCCFAB67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16014" y="6119014"/>
            <a:ext cx="5951538" cy="184666"/>
          </a:xfrm>
        </p:spPr>
        <p:txBody>
          <a:bodyPr/>
          <a:lstStyle>
            <a:lvl1pPr marL="0" indent="0">
              <a:buNone/>
              <a:defRPr sz="850" cap="all">
                <a:solidFill>
                  <a:schemeClr val="bg1"/>
                </a:solidFill>
              </a:defRPr>
            </a:lvl1pPr>
            <a:lvl2pPr marL="252000" indent="0">
              <a:buNone/>
              <a:defRPr sz="850" cap="all"/>
            </a:lvl2pPr>
            <a:lvl3pPr marL="468000" indent="0">
              <a:buNone/>
              <a:defRPr sz="850" cap="all"/>
            </a:lvl3pPr>
            <a:lvl4pPr marL="648000" indent="0">
              <a:buNone/>
              <a:defRPr sz="850" cap="all"/>
            </a:lvl4pPr>
            <a:lvl5pPr>
              <a:buNone/>
              <a:defRPr sz="850" cap="all"/>
            </a:lvl5pPr>
          </a:lstStyle>
          <a:p>
            <a:pPr lvl="0"/>
            <a:r>
              <a:rPr lang="nb-NO"/>
              <a:t>Dato</a:t>
            </a:r>
          </a:p>
        </p:txBody>
      </p:sp>
    </p:spTree>
    <p:extLst>
      <p:ext uri="{BB962C8B-B14F-4D97-AF65-F5344CB8AC3E}">
        <p14:creationId xmlns:p14="http://schemas.microsoft.com/office/powerpoint/2010/main" val="24220612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B (bildebakgru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Date" hidden="1">
            <a:extLst>
              <a:ext uri="{FF2B5EF4-FFF2-40B4-BE49-F238E27FC236}">
                <a16:creationId xmlns:a16="http://schemas.microsoft.com/office/drawing/2014/main" id="{4CCC0D19-8EED-4218-9E75-E951027FC41B}"/>
              </a:ext>
            </a:extLst>
          </p:cNvPr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27" name="Footer" hidden="1">
            <a:extLst>
              <a:ext uri="{FF2B5EF4-FFF2-40B4-BE49-F238E27FC236}">
                <a16:creationId xmlns:a16="http://schemas.microsoft.com/office/drawing/2014/main" id="{36227A54-03F2-42EE-8664-CBD4E19E0C0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28" name="Slide Number Placeholder 3" hidden="1">
            <a:extLst>
              <a:ext uri="{FF2B5EF4-FFF2-40B4-BE49-F238E27FC236}">
                <a16:creationId xmlns:a16="http://schemas.microsoft.com/office/drawing/2014/main" id="{0E8AEF7E-AC5E-43EB-B40B-3E1FBF2F93C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Overlay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91999" cy="6858000"/>
          </a:xfrm>
          <a:solidFill>
            <a:schemeClr val="tx2">
              <a:alpha val="60000"/>
            </a:schemeClr>
          </a:solidFill>
        </p:spPr>
        <p:txBody>
          <a:bodyPr anchor="b" anchorCtr="0"/>
          <a:lstStyle>
            <a:lvl1pPr marL="0" indent="0">
              <a:buFontTx/>
              <a:buNone/>
              <a:defRPr sz="100">
                <a:noFill/>
              </a:defRPr>
            </a:lvl1pPr>
            <a:lvl2pPr marL="4680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9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792000" indent="0">
              <a:buFontTx/>
              <a:buNone/>
              <a:defRPr>
                <a:solidFill>
                  <a:schemeClr val="bg1"/>
                </a:solidFill>
              </a:defRPr>
            </a:lvl4pPr>
            <a:lvl5pPr marL="7920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Disclaimer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2232000" tIns="180000" rIns="2232000"/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sz="1800"/>
              <a:t>Klikk på plassholderen og sett inn bilde via BrandMaster. For å få fargefilter på bildet, høyreklikk på innsatt bilde og velg Plasser lengst bak.</a:t>
            </a:r>
            <a:endParaRPr lang="nb-NO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4C2683B-7C00-40D7-B02A-EB8253B92D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903412"/>
            <a:ext cx="5876925" cy="2732910"/>
          </a:xfrm>
          <a:solidFill>
            <a:schemeClr val="accent5"/>
          </a:solidFill>
        </p:spPr>
        <p:txBody>
          <a:bodyPr lIns="504000" tIns="144000" rIns="504000" bIns="1008000" anchor="b" anchorCtr="0">
            <a:normAutofit/>
          </a:bodyPr>
          <a:lstStyle>
            <a:lvl1pPr>
              <a:lnSpc>
                <a:spcPct val="100000"/>
              </a:lnSpc>
              <a:defRPr sz="3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7815D879-B297-49CF-AC63-31AFE6CDF5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00" y="3708000"/>
            <a:ext cx="4870800" cy="742814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nb-NO"/>
              <a:t>Klikk for å legge til en undertittel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17B6595-2F6F-47EC-8B06-13A3E1ACC24F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788400" y="0"/>
            <a:ext cx="169200" cy="1410400"/>
          </a:xfrm>
          <a:custGeom>
            <a:avLst/>
            <a:gdLst>
              <a:gd name="connsiteX0" fmla="*/ 0 w 169200"/>
              <a:gd name="connsiteY0" fmla="*/ 0 h 1410400"/>
              <a:gd name="connsiteX1" fmla="*/ 169200 w 169200"/>
              <a:gd name="connsiteY1" fmla="*/ 0 h 1410400"/>
              <a:gd name="connsiteX2" fmla="*/ 169200 w 169200"/>
              <a:gd name="connsiteY2" fmla="*/ 1290426 h 1410400"/>
              <a:gd name="connsiteX3" fmla="*/ 0 w 169200"/>
              <a:gd name="connsiteY3" fmla="*/ 1410400 h 1410400"/>
              <a:gd name="connsiteX4" fmla="*/ 0 w 169200"/>
              <a:gd name="connsiteY4" fmla="*/ 1067982 h 1410400"/>
              <a:gd name="connsiteX5" fmla="*/ 0 w 169200"/>
              <a:gd name="connsiteY5" fmla="*/ 761974 h 1410400"/>
              <a:gd name="connsiteX6" fmla="*/ 0 w 169200"/>
              <a:gd name="connsiteY6" fmla="*/ 581107 h 1410400"/>
              <a:gd name="connsiteX7" fmla="*/ 0 w 169200"/>
              <a:gd name="connsiteY7" fmla="*/ 419556 h 141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200" h="1410400">
                <a:moveTo>
                  <a:pt x="0" y="0"/>
                </a:moveTo>
                <a:lnTo>
                  <a:pt x="169200" y="0"/>
                </a:lnTo>
                <a:lnTo>
                  <a:pt x="169200" y="1290426"/>
                </a:lnTo>
                <a:lnTo>
                  <a:pt x="0" y="1410400"/>
                </a:lnTo>
                <a:lnTo>
                  <a:pt x="0" y="1067982"/>
                </a:lnTo>
                <a:lnTo>
                  <a:pt x="0" y="761974"/>
                </a:lnTo>
                <a:lnTo>
                  <a:pt x="0" y="581107"/>
                </a:lnTo>
                <a:lnTo>
                  <a:pt x="0" y="419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DCE0251-F021-47DD-B0D2-CD913A321827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788400" y="6027068"/>
            <a:ext cx="169200" cy="834532"/>
          </a:xfrm>
          <a:custGeom>
            <a:avLst/>
            <a:gdLst>
              <a:gd name="connsiteX0" fmla="*/ 169200 w 169200"/>
              <a:gd name="connsiteY0" fmla="*/ 0 h 834532"/>
              <a:gd name="connsiteX1" fmla="*/ 169200 w 169200"/>
              <a:gd name="connsiteY1" fmla="*/ 321812 h 834532"/>
              <a:gd name="connsiteX2" fmla="*/ 169200 w 169200"/>
              <a:gd name="connsiteY2" fmla="*/ 495070 h 834532"/>
              <a:gd name="connsiteX3" fmla="*/ 169200 w 169200"/>
              <a:gd name="connsiteY3" fmla="*/ 643624 h 834532"/>
              <a:gd name="connsiteX4" fmla="*/ 169200 w 169200"/>
              <a:gd name="connsiteY4" fmla="*/ 834532 h 834532"/>
              <a:gd name="connsiteX5" fmla="*/ 0 w 169200"/>
              <a:gd name="connsiteY5" fmla="*/ 834532 h 834532"/>
              <a:gd name="connsiteX6" fmla="*/ 0 w 169200"/>
              <a:gd name="connsiteY6" fmla="*/ 643624 h 834532"/>
              <a:gd name="connsiteX7" fmla="*/ 0 w 169200"/>
              <a:gd name="connsiteY7" fmla="*/ 615043 h 834532"/>
              <a:gd name="connsiteX8" fmla="*/ 0 w 169200"/>
              <a:gd name="connsiteY8" fmla="*/ 441786 h 834532"/>
              <a:gd name="connsiteX9" fmla="*/ 0 w 169200"/>
              <a:gd name="connsiteY9" fmla="*/ 119974 h 83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9200" h="834532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834532"/>
                </a:lnTo>
                <a:lnTo>
                  <a:pt x="0" y="834532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D7603D-9F31-4878-9E7E-48468B3B1B71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fargefilter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Sett inn bilde først, høyreklikk på 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Plasser lengst ba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Klikk så på fargefilter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</a:t>
            </a:r>
            <a:endParaRPr lang="nb-NO"/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passende farge på tekstboks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Klikk på tekstboks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endParaRPr lang="nb-NO"/>
          </a:p>
        </p:txBody>
      </p:sp>
      <p:sp>
        <p:nvSpPr>
          <p:cNvPr id="31" name="Disclaimer" descr="{&quot;templafy&quot;:{&quot;id&quot;:&quot;0c0353eb-47f4-417d-a4eb-53a914c9bb2c&quot;}}">
            <a:extLst>
              <a:ext uri="{FF2B5EF4-FFF2-40B4-BE49-F238E27FC236}">
                <a16:creationId xmlns:a16="http://schemas.microsoft.com/office/drawing/2014/main" id="{F6C85AAB-8A6C-4BF5-899F-1C4DB59FFA82}"/>
              </a:ext>
            </a:extLst>
          </p:cNvPr>
          <p:cNvSpPr/>
          <p:nvPr userDrawn="1"/>
        </p:nvSpPr>
        <p:spPr bwMode="auto">
          <a:xfrm>
            <a:off x="1116014" y="6242400"/>
            <a:ext cx="5951538" cy="4487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850" b="0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</a:rPr>
              <a:t>Alt innhold i denne presentasjonen tilhører BDO AS eller BDO Advokater AS og skal ikke kopieres eller distribueres uten vårt skriftlige samtykke.</a:t>
            </a:r>
            <a:endParaRPr lang="nb-NO"/>
          </a:p>
        </p:txBody>
      </p:sp>
      <p:pic>
        <p:nvPicPr>
          <p:cNvPr id="19" name="Logo" descr="{&quot;templafy&quot;:{&quot;id&quot;:&quot;b6926eb6-1ca6-4d7b-ac2d-d02779e02793&quot;}}">
            <a:extLst>
              <a:ext uri="{FF2B5EF4-FFF2-40B4-BE49-F238E27FC236}">
                <a16:creationId xmlns:a16="http://schemas.microsoft.com/office/drawing/2014/main" id="{C94246AF-845D-4D39-B11C-9898CEF5C4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17943" y="6164541"/>
            <a:ext cx="857325" cy="498197"/>
          </a:xfrm>
          <a:prstGeom prst="rect">
            <a:avLst/>
          </a:prstGeom>
        </p:spPr>
      </p:pic>
      <p:sp>
        <p:nvSpPr>
          <p:cNvPr id="26" name="Name">
            <a:extLst>
              <a:ext uri="{FF2B5EF4-FFF2-40B4-BE49-F238E27FC236}">
                <a16:creationId xmlns:a16="http://schemas.microsoft.com/office/drawing/2014/main" id="{AE0005B8-E992-4E41-AB2B-55F66F1A8C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116014" y="5952141"/>
            <a:ext cx="5951538" cy="16137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850" b="0" kern="1200" cap="all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all" baseline="0">
                <a:solidFill>
                  <a:schemeClr val="tx1"/>
                </a:solidFill>
              </a:defRPr>
            </a:lvl2pPr>
            <a:lvl3pPr>
              <a:defRPr sz="1600" b="0" cap="all" baseline="0">
                <a:solidFill>
                  <a:schemeClr val="bg1"/>
                </a:solidFill>
              </a:defRPr>
            </a:lvl3pPr>
            <a:lvl4pPr>
              <a:defRPr sz="1600" b="0" cap="all" baseline="0">
                <a:solidFill>
                  <a:schemeClr val="bg1"/>
                </a:solidFill>
              </a:defRPr>
            </a:lvl4pPr>
            <a:lvl5pPr>
              <a:defRPr sz="1600" b="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Forfatternavn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5ADD3A-00E3-45B9-9E49-A2EAE7CF0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16014" y="6119014"/>
            <a:ext cx="5951538" cy="184666"/>
          </a:xfrm>
        </p:spPr>
        <p:txBody>
          <a:bodyPr/>
          <a:lstStyle>
            <a:lvl1pPr marL="0" indent="0">
              <a:buNone/>
              <a:defRPr sz="850" cap="all">
                <a:solidFill>
                  <a:schemeClr val="bg1"/>
                </a:solidFill>
              </a:defRPr>
            </a:lvl1pPr>
            <a:lvl2pPr marL="252000" indent="0">
              <a:buNone/>
              <a:defRPr sz="850" cap="all"/>
            </a:lvl2pPr>
            <a:lvl3pPr marL="468000" indent="0">
              <a:buNone/>
              <a:defRPr sz="850" cap="all"/>
            </a:lvl3pPr>
            <a:lvl4pPr marL="648000" indent="0">
              <a:buNone/>
              <a:defRPr sz="850" cap="all"/>
            </a:lvl4pPr>
            <a:lvl5pPr>
              <a:buNone/>
              <a:defRPr sz="850" cap="all"/>
            </a:lvl5pPr>
          </a:lstStyle>
          <a:p>
            <a:pPr lvl="0"/>
            <a:r>
              <a:rPr lang="nb-NO"/>
              <a:t>Dato</a:t>
            </a:r>
          </a:p>
        </p:txBody>
      </p:sp>
    </p:spTree>
    <p:extLst>
      <p:ext uri="{BB962C8B-B14F-4D97-AF65-F5344CB8AC3E}">
        <p14:creationId xmlns:p14="http://schemas.microsoft.com/office/powerpoint/2010/main" val="9614870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Tittellysbilde C   (for fargebild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Date" hidden="1"/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26" name="Footer" hidden="1"/>
          <p:cNvSpPr>
            <a:spLocks noGrp="1"/>
          </p:cNvSpPr>
          <p:nvPr>
            <p:ph type="ftr" sz="quarter" idx="1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2448000" tIns="180000" rIns="2448000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nb-NO" sz="1800"/>
              <a:t>Klikk på plassholderen og sett inn bilde via BrandMaster.</a:t>
            </a:r>
            <a:endParaRPr lang="nb-NO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1A468A69-58E2-4C99-BA06-F13716AE54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903412"/>
            <a:ext cx="5876925" cy="2732910"/>
          </a:xfrm>
          <a:solidFill>
            <a:schemeClr val="tx1">
              <a:alpha val="80000"/>
            </a:schemeClr>
          </a:solidFill>
        </p:spPr>
        <p:txBody>
          <a:bodyPr lIns="504000" tIns="144000" rIns="504000" bIns="1008000" anchor="b" anchorCtr="0">
            <a:normAutofit/>
          </a:bodyPr>
          <a:lstStyle>
            <a:lvl1pPr>
              <a:lnSpc>
                <a:spcPct val="100000"/>
              </a:lnSpc>
              <a:defRPr sz="3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id="{3160EB55-D5EE-4A39-A0C1-06210D8599E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000" y="3708000"/>
            <a:ext cx="4870800" cy="742814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nb-NO"/>
              <a:t>Klikk for å legge til en undertittel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017B6595-2F6F-47EC-8B06-13A3E1ACC24F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788400" y="0"/>
            <a:ext cx="169200" cy="1410400"/>
          </a:xfrm>
          <a:custGeom>
            <a:avLst/>
            <a:gdLst>
              <a:gd name="connsiteX0" fmla="*/ 0 w 169200"/>
              <a:gd name="connsiteY0" fmla="*/ 0 h 1410400"/>
              <a:gd name="connsiteX1" fmla="*/ 169200 w 169200"/>
              <a:gd name="connsiteY1" fmla="*/ 0 h 1410400"/>
              <a:gd name="connsiteX2" fmla="*/ 169200 w 169200"/>
              <a:gd name="connsiteY2" fmla="*/ 1290426 h 1410400"/>
              <a:gd name="connsiteX3" fmla="*/ 0 w 169200"/>
              <a:gd name="connsiteY3" fmla="*/ 1410400 h 1410400"/>
              <a:gd name="connsiteX4" fmla="*/ 0 w 169200"/>
              <a:gd name="connsiteY4" fmla="*/ 1067982 h 1410400"/>
              <a:gd name="connsiteX5" fmla="*/ 0 w 169200"/>
              <a:gd name="connsiteY5" fmla="*/ 761974 h 1410400"/>
              <a:gd name="connsiteX6" fmla="*/ 0 w 169200"/>
              <a:gd name="connsiteY6" fmla="*/ 581107 h 1410400"/>
              <a:gd name="connsiteX7" fmla="*/ 0 w 169200"/>
              <a:gd name="connsiteY7" fmla="*/ 419556 h 141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200" h="1410400">
                <a:moveTo>
                  <a:pt x="0" y="0"/>
                </a:moveTo>
                <a:lnTo>
                  <a:pt x="169200" y="0"/>
                </a:lnTo>
                <a:lnTo>
                  <a:pt x="169200" y="1290426"/>
                </a:lnTo>
                <a:lnTo>
                  <a:pt x="0" y="1410400"/>
                </a:lnTo>
                <a:lnTo>
                  <a:pt x="0" y="1067982"/>
                </a:lnTo>
                <a:lnTo>
                  <a:pt x="0" y="761974"/>
                </a:lnTo>
                <a:lnTo>
                  <a:pt x="0" y="581107"/>
                </a:lnTo>
                <a:lnTo>
                  <a:pt x="0" y="419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DCE0251-F021-47DD-B0D2-CD913A321827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788400" y="6027068"/>
            <a:ext cx="169200" cy="834532"/>
          </a:xfrm>
          <a:custGeom>
            <a:avLst/>
            <a:gdLst>
              <a:gd name="connsiteX0" fmla="*/ 169200 w 169200"/>
              <a:gd name="connsiteY0" fmla="*/ 0 h 834532"/>
              <a:gd name="connsiteX1" fmla="*/ 169200 w 169200"/>
              <a:gd name="connsiteY1" fmla="*/ 321812 h 834532"/>
              <a:gd name="connsiteX2" fmla="*/ 169200 w 169200"/>
              <a:gd name="connsiteY2" fmla="*/ 495070 h 834532"/>
              <a:gd name="connsiteX3" fmla="*/ 169200 w 169200"/>
              <a:gd name="connsiteY3" fmla="*/ 643624 h 834532"/>
              <a:gd name="connsiteX4" fmla="*/ 169200 w 169200"/>
              <a:gd name="connsiteY4" fmla="*/ 834532 h 834532"/>
              <a:gd name="connsiteX5" fmla="*/ 0 w 169200"/>
              <a:gd name="connsiteY5" fmla="*/ 834532 h 834532"/>
              <a:gd name="connsiteX6" fmla="*/ 0 w 169200"/>
              <a:gd name="connsiteY6" fmla="*/ 643624 h 834532"/>
              <a:gd name="connsiteX7" fmla="*/ 0 w 169200"/>
              <a:gd name="connsiteY7" fmla="*/ 615043 h 834532"/>
              <a:gd name="connsiteX8" fmla="*/ 0 w 169200"/>
              <a:gd name="connsiteY8" fmla="*/ 441786 h 834532"/>
              <a:gd name="connsiteX9" fmla="*/ 0 w 169200"/>
              <a:gd name="connsiteY9" fmla="*/ 119974 h 83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9200" h="834532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834532"/>
                </a:lnTo>
                <a:lnTo>
                  <a:pt x="0" y="834532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31" name="Disclaimer" descr="{&quot;templafy&quot;:{&quot;id&quot;:&quot;7068ffdb-41e8-44d1-be13-ccae3b443208&quot;}}">
            <a:extLst>
              <a:ext uri="{FF2B5EF4-FFF2-40B4-BE49-F238E27FC236}">
                <a16:creationId xmlns:a16="http://schemas.microsoft.com/office/drawing/2014/main" id="{F6C85AAB-8A6C-4BF5-899F-1C4DB59FFA82}"/>
              </a:ext>
            </a:extLst>
          </p:cNvPr>
          <p:cNvSpPr/>
          <p:nvPr userDrawn="1"/>
        </p:nvSpPr>
        <p:spPr bwMode="auto">
          <a:xfrm>
            <a:off x="1116014" y="6242400"/>
            <a:ext cx="5951538" cy="4487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rm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850" b="0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</a:rPr>
              <a:t>Alt innhold i denne presentasjonen tilhører BDO AS eller BDO Advokater AS og skal ikke kopieres eller distribueres uten vårt skriftlige samtykke.</a:t>
            </a:r>
            <a:endParaRPr lang="nb-NO"/>
          </a:p>
        </p:txBody>
      </p:sp>
      <p:pic>
        <p:nvPicPr>
          <p:cNvPr id="19" name="Logo" descr="{&quot;templafy&quot;:{&quot;id&quot;:&quot;4f2669eb-ec36-4b6f-87a5-de4ef7328b86&quot;}}">
            <a:extLst>
              <a:ext uri="{FF2B5EF4-FFF2-40B4-BE49-F238E27FC236}">
                <a16:creationId xmlns:a16="http://schemas.microsoft.com/office/drawing/2014/main" id="{D6DFB936-6B17-4194-8227-0AEEDF33B3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17943" y="6164541"/>
            <a:ext cx="857325" cy="498197"/>
          </a:xfrm>
          <a:prstGeom prst="rect">
            <a:avLst/>
          </a:prstGeom>
        </p:spPr>
      </p:pic>
      <p:sp>
        <p:nvSpPr>
          <p:cNvPr id="16" name="Name">
            <a:extLst>
              <a:ext uri="{FF2B5EF4-FFF2-40B4-BE49-F238E27FC236}">
                <a16:creationId xmlns:a16="http://schemas.microsoft.com/office/drawing/2014/main" id="{A5FA3EAC-0936-4D8D-87A7-67A0F8C0488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116014" y="5952141"/>
            <a:ext cx="4760911" cy="16137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850" b="0" kern="1200" cap="all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all" baseline="0">
                <a:solidFill>
                  <a:schemeClr val="tx1"/>
                </a:solidFill>
              </a:defRPr>
            </a:lvl2pPr>
            <a:lvl3pPr>
              <a:defRPr sz="1600" b="0" cap="all" baseline="0">
                <a:solidFill>
                  <a:schemeClr val="bg1"/>
                </a:solidFill>
              </a:defRPr>
            </a:lvl3pPr>
            <a:lvl4pPr>
              <a:defRPr sz="1600" b="0" cap="all" baseline="0">
                <a:solidFill>
                  <a:schemeClr val="bg1"/>
                </a:solidFill>
              </a:defRPr>
            </a:lvl4pPr>
            <a:lvl5pPr>
              <a:defRPr sz="1600" b="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Forfatternavn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56661FC-F713-430B-98A0-F5A3C939FCA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16014" y="6119014"/>
            <a:ext cx="4760911" cy="184666"/>
          </a:xfrm>
        </p:spPr>
        <p:txBody>
          <a:bodyPr/>
          <a:lstStyle>
            <a:lvl1pPr marL="0" indent="0">
              <a:buNone/>
              <a:defRPr sz="850" cap="all">
                <a:solidFill>
                  <a:schemeClr val="bg1"/>
                </a:solidFill>
              </a:defRPr>
            </a:lvl1pPr>
            <a:lvl2pPr marL="252000" indent="0">
              <a:buNone/>
              <a:defRPr sz="850" cap="all"/>
            </a:lvl2pPr>
            <a:lvl3pPr marL="468000" indent="0">
              <a:buNone/>
              <a:defRPr sz="850" cap="all"/>
            </a:lvl3pPr>
            <a:lvl4pPr marL="648000" indent="0">
              <a:buNone/>
              <a:defRPr sz="850" cap="all"/>
            </a:lvl4pPr>
            <a:lvl5pPr>
              <a:buNone/>
              <a:defRPr sz="850" cap="all"/>
            </a:lvl5pPr>
          </a:lstStyle>
          <a:p>
            <a:pPr lvl="0"/>
            <a:r>
              <a:rPr lang="nb-NO"/>
              <a:t>Dato</a:t>
            </a:r>
          </a:p>
        </p:txBody>
      </p:sp>
    </p:spTree>
    <p:extLst>
      <p:ext uri="{BB962C8B-B14F-4D97-AF65-F5344CB8AC3E}">
        <p14:creationId xmlns:p14="http://schemas.microsoft.com/office/powerpoint/2010/main" val="3547438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    Tittel D       (rundt bilde)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Date" hidden="1"/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26" name="Footer" hidden="1"/>
          <p:cNvSpPr>
            <a:spLocks noGrp="1"/>
          </p:cNvSpPr>
          <p:nvPr>
            <p:ph type="ftr" sz="quarter" idx="1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76274" y="812461"/>
            <a:ext cx="5208959" cy="5208959"/>
          </a:xfrm>
          <a:prstGeom prst="ellipse">
            <a:avLst/>
          </a:prstGeom>
          <a:solidFill>
            <a:schemeClr val="bg1"/>
          </a:solidFill>
        </p:spPr>
        <p:txBody>
          <a:bodyPr lIns="0" tIns="0" rIns="0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nb-NO" sz="1800"/>
              <a:t>Klikk på plassholderen og sett inn bilde via BrandMaster.</a:t>
            </a:r>
            <a:endParaRPr lang="nb-NO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B0BCDFE-6927-4190-BBC9-34A4205CB3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64167" y="1903412"/>
            <a:ext cx="5211101" cy="1637149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3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86C126B7-F998-49EE-B111-DB66807848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464167" y="3708000"/>
            <a:ext cx="5205546" cy="95879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nb-NO"/>
              <a:t>Klikk for å legge til en undertittel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838ADEF-0BF7-45A4-92C7-8924FABF80E0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6826539" y="4963283"/>
            <a:ext cx="169200" cy="1896741"/>
          </a:xfrm>
          <a:custGeom>
            <a:avLst/>
            <a:gdLst>
              <a:gd name="connsiteX0" fmla="*/ 169200 w 169200"/>
              <a:gd name="connsiteY0" fmla="*/ 0 h 1896741"/>
              <a:gd name="connsiteX1" fmla="*/ 169200 w 169200"/>
              <a:gd name="connsiteY1" fmla="*/ 321812 h 1896741"/>
              <a:gd name="connsiteX2" fmla="*/ 169200 w 169200"/>
              <a:gd name="connsiteY2" fmla="*/ 495070 h 1896741"/>
              <a:gd name="connsiteX3" fmla="*/ 169200 w 169200"/>
              <a:gd name="connsiteY3" fmla="*/ 643624 h 1896741"/>
              <a:gd name="connsiteX4" fmla="*/ 169200 w 169200"/>
              <a:gd name="connsiteY4" fmla="*/ 646519 h 1896741"/>
              <a:gd name="connsiteX5" fmla="*/ 169200 w 169200"/>
              <a:gd name="connsiteY5" fmla="*/ 834532 h 1896741"/>
              <a:gd name="connsiteX6" fmla="*/ 169200 w 169200"/>
              <a:gd name="connsiteY6" fmla="*/ 968331 h 1896741"/>
              <a:gd name="connsiteX7" fmla="*/ 169200 w 169200"/>
              <a:gd name="connsiteY7" fmla="*/ 1062209 h 1896741"/>
              <a:gd name="connsiteX8" fmla="*/ 169200 w 169200"/>
              <a:gd name="connsiteY8" fmla="*/ 1141589 h 1896741"/>
              <a:gd name="connsiteX9" fmla="*/ 169200 w 169200"/>
              <a:gd name="connsiteY9" fmla="*/ 1290143 h 1896741"/>
              <a:gd name="connsiteX10" fmla="*/ 169200 w 169200"/>
              <a:gd name="connsiteY10" fmla="*/ 1384021 h 1896741"/>
              <a:gd name="connsiteX11" fmla="*/ 169200 w 169200"/>
              <a:gd name="connsiteY11" fmla="*/ 1481051 h 1896741"/>
              <a:gd name="connsiteX12" fmla="*/ 169200 w 169200"/>
              <a:gd name="connsiteY12" fmla="*/ 1557279 h 1896741"/>
              <a:gd name="connsiteX13" fmla="*/ 169200 w 169200"/>
              <a:gd name="connsiteY13" fmla="*/ 1705833 h 1896741"/>
              <a:gd name="connsiteX14" fmla="*/ 169200 w 169200"/>
              <a:gd name="connsiteY14" fmla="*/ 1896741 h 1896741"/>
              <a:gd name="connsiteX15" fmla="*/ 0 w 169200"/>
              <a:gd name="connsiteY15" fmla="*/ 1896741 h 1896741"/>
              <a:gd name="connsiteX16" fmla="*/ 0 w 169200"/>
              <a:gd name="connsiteY16" fmla="*/ 1705833 h 1896741"/>
              <a:gd name="connsiteX17" fmla="*/ 0 w 169200"/>
              <a:gd name="connsiteY17" fmla="*/ 1677252 h 1896741"/>
              <a:gd name="connsiteX18" fmla="*/ 0 w 169200"/>
              <a:gd name="connsiteY18" fmla="*/ 1503995 h 1896741"/>
              <a:gd name="connsiteX19" fmla="*/ 0 w 169200"/>
              <a:gd name="connsiteY19" fmla="*/ 1481051 h 1896741"/>
              <a:gd name="connsiteX20" fmla="*/ 0 w 169200"/>
              <a:gd name="connsiteY20" fmla="*/ 1290143 h 1896741"/>
              <a:gd name="connsiteX21" fmla="*/ 0 w 169200"/>
              <a:gd name="connsiteY21" fmla="*/ 1261562 h 1896741"/>
              <a:gd name="connsiteX22" fmla="*/ 0 w 169200"/>
              <a:gd name="connsiteY22" fmla="*/ 1182183 h 1896741"/>
              <a:gd name="connsiteX23" fmla="*/ 0 w 169200"/>
              <a:gd name="connsiteY23" fmla="*/ 1088305 h 1896741"/>
              <a:gd name="connsiteX24" fmla="*/ 0 w 169200"/>
              <a:gd name="connsiteY24" fmla="*/ 834532 h 1896741"/>
              <a:gd name="connsiteX25" fmla="*/ 0 w 169200"/>
              <a:gd name="connsiteY25" fmla="*/ 766493 h 1896741"/>
              <a:gd name="connsiteX26" fmla="*/ 0 w 169200"/>
              <a:gd name="connsiteY26" fmla="*/ 643624 h 1896741"/>
              <a:gd name="connsiteX27" fmla="*/ 0 w 169200"/>
              <a:gd name="connsiteY27" fmla="*/ 615043 h 1896741"/>
              <a:gd name="connsiteX28" fmla="*/ 0 w 169200"/>
              <a:gd name="connsiteY28" fmla="*/ 441786 h 1896741"/>
              <a:gd name="connsiteX29" fmla="*/ 0 w 169200"/>
              <a:gd name="connsiteY29" fmla="*/ 119974 h 1896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69200" h="1896741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646519"/>
                </a:lnTo>
                <a:lnTo>
                  <a:pt x="169200" y="834532"/>
                </a:lnTo>
                <a:lnTo>
                  <a:pt x="169200" y="968331"/>
                </a:lnTo>
                <a:lnTo>
                  <a:pt x="169200" y="1062209"/>
                </a:lnTo>
                <a:lnTo>
                  <a:pt x="169200" y="1141589"/>
                </a:lnTo>
                <a:lnTo>
                  <a:pt x="169200" y="1290143"/>
                </a:lnTo>
                <a:lnTo>
                  <a:pt x="169200" y="1384021"/>
                </a:lnTo>
                <a:lnTo>
                  <a:pt x="169200" y="1481051"/>
                </a:lnTo>
                <a:lnTo>
                  <a:pt x="169200" y="1557279"/>
                </a:lnTo>
                <a:lnTo>
                  <a:pt x="169200" y="1705833"/>
                </a:lnTo>
                <a:lnTo>
                  <a:pt x="169200" y="1896741"/>
                </a:lnTo>
                <a:lnTo>
                  <a:pt x="0" y="1896741"/>
                </a:lnTo>
                <a:lnTo>
                  <a:pt x="0" y="1705833"/>
                </a:lnTo>
                <a:lnTo>
                  <a:pt x="0" y="1677252"/>
                </a:lnTo>
                <a:lnTo>
                  <a:pt x="0" y="1503995"/>
                </a:lnTo>
                <a:lnTo>
                  <a:pt x="0" y="1481051"/>
                </a:lnTo>
                <a:lnTo>
                  <a:pt x="0" y="1290143"/>
                </a:lnTo>
                <a:lnTo>
                  <a:pt x="0" y="1261562"/>
                </a:lnTo>
                <a:lnTo>
                  <a:pt x="0" y="1182183"/>
                </a:lnTo>
                <a:lnTo>
                  <a:pt x="0" y="1088305"/>
                </a:lnTo>
                <a:lnTo>
                  <a:pt x="0" y="834532"/>
                </a:lnTo>
                <a:lnTo>
                  <a:pt x="0" y="766493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88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D45942-A483-4808-81F2-8D501E3577D2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6826539" y="-7740"/>
            <a:ext cx="169200" cy="1704603"/>
          </a:xfrm>
          <a:custGeom>
            <a:avLst/>
            <a:gdLst>
              <a:gd name="connsiteX0" fmla="*/ 0 w 169200"/>
              <a:gd name="connsiteY0" fmla="*/ 0 h 1704603"/>
              <a:gd name="connsiteX1" fmla="*/ 169200 w 169200"/>
              <a:gd name="connsiteY1" fmla="*/ 0 h 1704603"/>
              <a:gd name="connsiteX2" fmla="*/ 169200 w 169200"/>
              <a:gd name="connsiteY2" fmla="*/ 294203 h 1704603"/>
              <a:gd name="connsiteX3" fmla="*/ 169200 w 169200"/>
              <a:gd name="connsiteY3" fmla="*/ 1290426 h 1704603"/>
              <a:gd name="connsiteX4" fmla="*/ 169200 w 169200"/>
              <a:gd name="connsiteY4" fmla="*/ 1584629 h 1704603"/>
              <a:gd name="connsiteX5" fmla="*/ 0 w 169200"/>
              <a:gd name="connsiteY5" fmla="*/ 1704603 h 1704603"/>
              <a:gd name="connsiteX6" fmla="*/ 0 w 169200"/>
              <a:gd name="connsiteY6" fmla="*/ 1410400 h 1704603"/>
              <a:gd name="connsiteX7" fmla="*/ 0 w 169200"/>
              <a:gd name="connsiteY7" fmla="*/ 1362185 h 1704603"/>
              <a:gd name="connsiteX8" fmla="*/ 0 w 169200"/>
              <a:gd name="connsiteY8" fmla="*/ 1067982 h 1704603"/>
              <a:gd name="connsiteX9" fmla="*/ 0 w 169200"/>
              <a:gd name="connsiteY9" fmla="*/ 1056177 h 1704603"/>
              <a:gd name="connsiteX10" fmla="*/ 0 w 169200"/>
              <a:gd name="connsiteY10" fmla="*/ 875310 h 1704603"/>
              <a:gd name="connsiteX11" fmla="*/ 0 w 169200"/>
              <a:gd name="connsiteY11" fmla="*/ 761974 h 1704603"/>
              <a:gd name="connsiteX12" fmla="*/ 0 w 169200"/>
              <a:gd name="connsiteY12" fmla="*/ 713759 h 1704603"/>
              <a:gd name="connsiteX13" fmla="*/ 0 w 169200"/>
              <a:gd name="connsiteY13" fmla="*/ 581107 h 1704603"/>
              <a:gd name="connsiteX14" fmla="*/ 0 w 169200"/>
              <a:gd name="connsiteY14" fmla="*/ 419556 h 1704603"/>
              <a:gd name="connsiteX15" fmla="*/ 0 w 169200"/>
              <a:gd name="connsiteY15" fmla="*/ 294203 h 1704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9200" h="1704603">
                <a:moveTo>
                  <a:pt x="0" y="0"/>
                </a:moveTo>
                <a:lnTo>
                  <a:pt x="169200" y="0"/>
                </a:lnTo>
                <a:lnTo>
                  <a:pt x="169200" y="294203"/>
                </a:lnTo>
                <a:lnTo>
                  <a:pt x="169200" y="1290426"/>
                </a:lnTo>
                <a:lnTo>
                  <a:pt x="169200" y="1584629"/>
                </a:lnTo>
                <a:lnTo>
                  <a:pt x="0" y="1704603"/>
                </a:lnTo>
                <a:lnTo>
                  <a:pt x="0" y="1410400"/>
                </a:lnTo>
                <a:lnTo>
                  <a:pt x="0" y="1362185"/>
                </a:lnTo>
                <a:lnTo>
                  <a:pt x="0" y="1067982"/>
                </a:lnTo>
                <a:lnTo>
                  <a:pt x="0" y="1056177"/>
                </a:lnTo>
                <a:lnTo>
                  <a:pt x="0" y="875310"/>
                </a:lnTo>
                <a:lnTo>
                  <a:pt x="0" y="761974"/>
                </a:lnTo>
                <a:lnTo>
                  <a:pt x="0" y="713759"/>
                </a:lnTo>
                <a:lnTo>
                  <a:pt x="0" y="581107"/>
                </a:lnTo>
                <a:lnTo>
                  <a:pt x="0" y="419556"/>
                </a:lnTo>
                <a:lnTo>
                  <a:pt x="0" y="2942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88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9FAF5B3-E0DF-434E-AF84-33D1347D1DBF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  <p:sp>
        <p:nvSpPr>
          <p:cNvPr id="31" name="Disclaimer" descr="{&quot;templafy&quot;:{&quot;id&quot;:&quot;68e9ce67-d19f-4cdb-a6b5-d8714495e442&quot;}}">
            <a:extLst>
              <a:ext uri="{FF2B5EF4-FFF2-40B4-BE49-F238E27FC236}">
                <a16:creationId xmlns:a16="http://schemas.microsoft.com/office/drawing/2014/main" id="{F6C85AAB-8A6C-4BF5-899F-1C4DB59FFA82}"/>
              </a:ext>
            </a:extLst>
          </p:cNvPr>
          <p:cNvSpPr/>
          <p:nvPr userDrawn="1"/>
        </p:nvSpPr>
        <p:spPr bwMode="white">
          <a:xfrm>
            <a:off x="7154153" y="5875698"/>
            <a:ext cx="3149609" cy="81542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800" b="0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</a:rPr>
              <a:t>Alt innhold i denne presentasjonen tilhører BDO AS eller BDO Advokater AS og skal ikke kopieres eller distribueres uten vårt skriftlige samtykke.</a:t>
            </a:r>
            <a:endParaRPr lang="nb-NO"/>
          </a:p>
        </p:txBody>
      </p:sp>
      <p:pic>
        <p:nvPicPr>
          <p:cNvPr id="13" name="Logo" descr="{&quot;templafy&quot;:{&quot;id&quot;:&quot;01318012-e767-4233-a890-fda0f6c24d85&quot;}}">
            <a:extLst>
              <a:ext uri="{FF2B5EF4-FFF2-40B4-BE49-F238E27FC236}">
                <a16:creationId xmlns:a16="http://schemas.microsoft.com/office/drawing/2014/main" id="{9AC2D918-03FF-42AB-984F-8719B756D10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17943" y="6164541"/>
            <a:ext cx="857325" cy="498197"/>
          </a:xfrm>
          <a:prstGeom prst="rect">
            <a:avLst/>
          </a:prstGeom>
        </p:spPr>
      </p:pic>
      <p:sp>
        <p:nvSpPr>
          <p:cNvPr id="14" name="Name">
            <a:extLst>
              <a:ext uri="{FF2B5EF4-FFF2-40B4-BE49-F238E27FC236}">
                <a16:creationId xmlns:a16="http://schemas.microsoft.com/office/drawing/2014/main" id="{3DB0F570-B6F3-42B8-AA56-99E1E8768B6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154153" y="5512526"/>
            <a:ext cx="4515561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850" b="0" kern="1200" cap="all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all" baseline="0">
                <a:solidFill>
                  <a:schemeClr val="tx1"/>
                </a:solidFill>
              </a:defRPr>
            </a:lvl2pPr>
            <a:lvl3pPr>
              <a:defRPr sz="1600" b="0" cap="all" baseline="0">
                <a:solidFill>
                  <a:schemeClr val="bg1"/>
                </a:solidFill>
              </a:defRPr>
            </a:lvl3pPr>
            <a:lvl4pPr>
              <a:defRPr sz="1600" b="0" cap="all" baseline="0">
                <a:solidFill>
                  <a:schemeClr val="bg1"/>
                </a:solidFill>
              </a:defRPr>
            </a:lvl4pPr>
            <a:lvl5pPr>
              <a:defRPr sz="1600" b="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Forfatternav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7C75E1-AD98-4B60-8827-FBD5CA1665C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154152" y="5702689"/>
            <a:ext cx="4515561" cy="184666"/>
          </a:xfrm>
        </p:spPr>
        <p:txBody>
          <a:bodyPr/>
          <a:lstStyle>
            <a:lvl1pPr marL="0" indent="0">
              <a:buNone/>
              <a:defRPr sz="850" cap="all">
                <a:solidFill>
                  <a:schemeClr val="bg1"/>
                </a:solidFill>
              </a:defRPr>
            </a:lvl1pPr>
            <a:lvl2pPr marL="252000" indent="0">
              <a:buNone/>
              <a:defRPr sz="850" cap="all"/>
            </a:lvl2pPr>
            <a:lvl3pPr marL="468000" indent="0">
              <a:buNone/>
              <a:defRPr sz="850" cap="all"/>
            </a:lvl3pPr>
            <a:lvl4pPr marL="648000" indent="0">
              <a:buNone/>
              <a:defRPr sz="850" cap="all"/>
            </a:lvl4pPr>
            <a:lvl5pPr>
              <a:buNone/>
              <a:defRPr sz="850" cap="all"/>
            </a:lvl5pPr>
          </a:lstStyle>
          <a:p>
            <a:pPr lvl="0"/>
            <a:r>
              <a:rPr lang="nb-NO"/>
              <a:t>Dato</a:t>
            </a:r>
          </a:p>
        </p:txBody>
      </p:sp>
    </p:spTree>
    <p:extLst>
      <p:ext uri="{BB962C8B-B14F-4D97-AF65-F5344CB8AC3E}">
        <p14:creationId xmlns:p14="http://schemas.microsoft.com/office/powerpoint/2010/main" val="183815876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       Tittel E       (rundt bilde)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Date" hidden="1"/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26" name="Footer" hidden="1"/>
          <p:cNvSpPr>
            <a:spLocks noGrp="1"/>
          </p:cNvSpPr>
          <p:nvPr>
            <p:ph type="ftr" sz="quarter" idx="1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6247420" y="812461"/>
            <a:ext cx="5208959" cy="5208959"/>
          </a:xfrm>
          <a:prstGeom prst="ellipse">
            <a:avLst/>
          </a:prstGeom>
          <a:solidFill>
            <a:schemeClr val="bg1"/>
          </a:solidFill>
        </p:spPr>
        <p:txBody>
          <a:bodyPr lIns="0" tIns="0" rIns="0"/>
          <a:lstStyle>
            <a:lvl1pPr marL="0" indent="0" algn="ctr">
              <a:buFontTx/>
              <a:buNone/>
              <a:defRPr sz="1600">
                <a:solidFill>
                  <a:schemeClr val="tx1"/>
                </a:solidFill>
              </a:defRPr>
            </a:lvl1pPr>
          </a:lstStyle>
          <a:p>
            <a:r>
              <a:rPr lang="nb-NO" sz="1800"/>
              <a:t>Klikk på plassholderen og sett inn bilde via BrandMaster.</a:t>
            </a:r>
            <a:endParaRPr lang="nb-N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3406A88-D903-431D-99C1-3C4618899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48917" y="1903412"/>
            <a:ext cx="5215050" cy="1637149"/>
          </a:xfrm>
        </p:spPr>
        <p:txBody>
          <a:bodyPr anchor="b" anchorCtr="0">
            <a:normAutofit/>
          </a:bodyPr>
          <a:lstStyle>
            <a:lvl1pPr>
              <a:lnSpc>
                <a:spcPct val="100000"/>
              </a:lnSpc>
              <a:defRPr sz="34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id="{B5F85C2C-8908-4259-9876-B6E99B2C444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55008" y="3708000"/>
            <a:ext cx="5209491" cy="958792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1800" b="0">
                <a:solidFill>
                  <a:schemeClr val="bg1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3pPr>
            <a:lvl4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4pPr>
            <a:lvl5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5pPr>
            <a:lvl6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6pPr>
            <a:lvl7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7pPr>
            <a:lvl8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8pPr>
            <a:lvl9pPr marL="0" indent="0" algn="l"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9pPr>
          </a:lstStyle>
          <a:p>
            <a:r>
              <a:rPr lang="nb-NO"/>
              <a:t>Klikk for å legge til en undertittel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2838ADEF-0BF7-45A4-92C7-8924FABF80E0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16013" y="4963283"/>
            <a:ext cx="169200" cy="1896741"/>
          </a:xfrm>
          <a:custGeom>
            <a:avLst/>
            <a:gdLst>
              <a:gd name="connsiteX0" fmla="*/ 169200 w 169200"/>
              <a:gd name="connsiteY0" fmla="*/ 0 h 1896741"/>
              <a:gd name="connsiteX1" fmla="*/ 169200 w 169200"/>
              <a:gd name="connsiteY1" fmla="*/ 321812 h 1896741"/>
              <a:gd name="connsiteX2" fmla="*/ 169200 w 169200"/>
              <a:gd name="connsiteY2" fmla="*/ 495070 h 1896741"/>
              <a:gd name="connsiteX3" fmla="*/ 169200 w 169200"/>
              <a:gd name="connsiteY3" fmla="*/ 643624 h 1896741"/>
              <a:gd name="connsiteX4" fmla="*/ 169200 w 169200"/>
              <a:gd name="connsiteY4" fmla="*/ 646519 h 1896741"/>
              <a:gd name="connsiteX5" fmla="*/ 169200 w 169200"/>
              <a:gd name="connsiteY5" fmla="*/ 834532 h 1896741"/>
              <a:gd name="connsiteX6" fmla="*/ 169200 w 169200"/>
              <a:gd name="connsiteY6" fmla="*/ 968331 h 1896741"/>
              <a:gd name="connsiteX7" fmla="*/ 169200 w 169200"/>
              <a:gd name="connsiteY7" fmla="*/ 1062209 h 1896741"/>
              <a:gd name="connsiteX8" fmla="*/ 169200 w 169200"/>
              <a:gd name="connsiteY8" fmla="*/ 1141589 h 1896741"/>
              <a:gd name="connsiteX9" fmla="*/ 169200 w 169200"/>
              <a:gd name="connsiteY9" fmla="*/ 1290143 h 1896741"/>
              <a:gd name="connsiteX10" fmla="*/ 169200 w 169200"/>
              <a:gd name="connsiteY10" fmla="*/ 1384021 h 1896741"/>
              <a:gd name="connsiteX11" fmla="*/ 169200 w 169200"/>
              <a:gd name="connsiteY11" fmla="*/ 1481051 h 1896741"/>
              <a:gd name="connsiteX12" fmla="*/ 169200 w 169200"/>
              <a:gd name="connsiteY12" fmla="*/ 1557279 h 1896741"/>
              <a:gd name="connsiteX13" fmla="*/ 169200 w 169200"/>
              <a:gd name="connsiteY13" fmla="*/ 1705833 h 1896741"/>
              <a:gd name="connsiteX14" fmla="*/ 169200 w 169200"/>
              <a:gd name="connsiteY14" fmla="*/ 1896741 h 1896741"/>
              <a:gd name="connsiteX15" fmla="*/ 0 w 169200"/>
              <a:gd name="connsiteY15" fmla="*/ 1896741 h 1896741"/>
              <a:gd name="connsiteX16" fmla="*/ 0 w 169200"/>
              <a:gd name="connsiteY16" fmla="*/ 1705833 h 1896741"/>
              <a:gd name="connsiteX17" fmla="*/ 0 w 169200"/>
              <a:gd name="connsiteY17" fmla="*/ 1677252 h 1896741"/>
              <a:gd name="connsiteX18" fmla="*/ 0 w 169200"/>
              <a:gd name="connsiteY18" fmla="*/ 1503995 h 1896741"/>
              <a:gd name="connsiteX19" fmla="*/ 0 w 169200"/>
              <a:gd name="connsiteY19" fmla="*/ 1481051 h 1896741"/>
              <a:gd name="connsiteX20" fmla="*/ 0 w 169200"/>
              <a:gd name="connsiteY20" fmla="*/ 1290143 h 1896741"/>
              <a:gd name="connsiteX21" fmla="*/ 0 w 169200"/>
              <a:gd name="connsiteY21" fmla="*/ 1261562 h 1896741"/>
              <a:gd name="connsiteX22" fmla="*/ 0 w 169200"/>
              <a:gd name="connsiteY22" fmla="*/ 1182183 h 1896741"/>
              <a:gd name="connsiteX23" fmla="*/ 0 w 169200"/>
              <a:gd name="connsiteY23" fmla="*/ 1088305 h 1896741"/>
              <a:gd name="connsiteX24" fmla="*/ 0 w 169200"/>
              <a:gd name="connsiteY24" fmla="*/ 834532 h 1896741"/>
              <a:gd name="connsiteX25" fmla="*/ 0 w 169200"/>
              <a:gd name="connsiteY25" fmla="*/ 766493 h 1896741"/>
              <a:gd name="connsiteX26" fmla="*/ 0 w 169200"/>
              <a:gd name="connsiteY26" fmla="*/ 643624 h 1896741"/>
              <a:gd name="connsiteX27" fmla="*/ 0 w 169200"/>
              <a:gd name="connsiteY27" fmla="*/ 615043 h 1896741"/>
              <a:gd name="connsiteX28" fmla="*/ 0 w 169200"/>
              <a:gd name="connsiteY28" fmla="*/ 441786 h 1896741"/>
              <a:gd name="connsiteX29" fmla="*/ 0 w 169200"/>
              <a:gd name="connsiteY29" fmla="*/ 119974 h 18967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69200" h="1896741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646519"/>
                </a:lnTo>
                <a:lnTo>
                  <a:pt x="169200" y="834532"/>
                </a:lnTo>
                <a:lnTo>
                  <a:pt x="169200" y="968331"/>
                </a:lnTo>
                <a:lnTo>
                  <a:pt x="169200" y="1062209"/>
                </a:lnTo>
                <a:lnTo>
                  <a:pt x="169200" y="1141589"/>
                </a:lnTo>
                <a:lnTo>
                  <a:pt x="169200" y="1290143"/>
                </a:lnTo>
                <a:lnTo>
                  <a:pt x="169200" y="1384021"/>
                </a:lnTo>
                <a:lnTo>
                  <a:pt x="169200" y="1481051"/>
                </a:lnTo>
                <a:lnTo>
                  <a:pt x="169200" y="1557279"/>
                </a:lnTo>
                <a:lnTo>
                  <a:pt x="169200" y="1705833"/>
                </a:lnTo>
                <a:lnTo>
                  <a:pt x="169200" y="1896741"/>
                </a:lnTo>
                <a:lnTo>
                  <a:pt x="0" y="1896741"/>
                </a:lnTo>
                <a:lnTo>
                  <a:pt x="0" y="1705833"/>
                </a:lnTo>
                <a:lnTo>
                  <a:pt x="0" y="1677252"/>
                </a:lnTo>
                <a:lnTo>
                  <a:pt x="0" y="1503995"/>
                </a:lnTo>
                <a:lnTo>
                  <a:pt x="0" y="1481051"/>
                </a:lnTo>
                <a:lnTo>
                  <a:pt x="0" y="1290143"/>
                </a:lnTo>
                <a:lnTo>
                  <a:pt x="0" y="1261562"/>
                </a:lnTo>
                <a:lnTo>
                  <a:pt x="0" y="1182183"/>
                </a:lnTo>
                <a:lnTo>
                  <a:pt x="0" y="1088305"/>
                </a:lnTo>
                <a:lnTo>
                  <a:pt x="0" y="834532"/>
                </a:lnTo>
                <a:lnTo>
                  <a:pt x="0" y="766493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88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D45942-A483-4808-81F2-8D501E3577D2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1116013" y="-7740"/>
            <a:ext cx="169200" cy="1704603"/>
          </a:xfrm>
          <a:custGeom>
            <a:avLst/>
            <a:gdLst>
              <a:gd name="connsiteX0" fmla="*/ 0 w 169200"/>
              <a:gd name="connsiteY0" fmla="*/ 0 h 1704603"/>
              <a:gd name="connsiteX1" fmla="*/ 169200 w 169200"/>
              <a:gd name="connsiteY1" fmla="*/ 0 h 1704603"/>
              <a:gd name="connsiteX2" fmla="*/ 169200 w 169200"/>
              <a:gd name="connsiteY2" fmla="*/ 294203 h 1704603"/>
              <a:gd name="connsiteX3" fmla="*/ 169200 w 169200"/>
              <a:gd name="connsiteY3" fmla="*/ 1290426 h 1704603"/>
              <a:gd name="connsiteX4" fmla="*/ 169200 w 169200"/>
              <a:gd name="connsiteY4" fmla="*/ 1584629 h 1704603"/>
              <a:gd name="connsiteX5" fmla="*/ 0 w 169200"/>
              <a:gd name="connsiteY5" fmla="*/ 1704603 h 1704603"/>
              <a:gd name="connsiteX6" fmla="*/ 0 w 169200"/>
              <a:gd name="connsiteY6" fmla="*/ 1410400 h 1704603"/>
              <a:gd name="connsiteX7" fmla="*/ 0 w 169200"/>
              <a:gd name="connsiteY7" fmla="*/ 1362185 h 1704603"/>
              <a:gd name="connsiteX8" fmla="*/ 0 w 169200"/>
              <a:gd name="connsiteY8" fmla="*/ 1067982 h 1704603"/>
              <a:gd name="connsiteX9" fmla="*/ 0 w 169200"/>
              <a:gd name="connsiteY9" fmla="*/ 1056177 h 1704603"/>
              <a:gd name="connsiteX10" fmla="*/ 0 w 169200"/>
              <a:gd name="connsiteY10" fmla="*/ 875310 h 1704603"/>
              <a:gd name="connsiteX11" fmla="*/ 0 w 169200"/>
              <a:gd name="connsiteY11" fmla="*/ 761974 h 1704603"/>
              <a:gd name="connsiteX12" fmla="*/ 0 w 169200"/>
              <a:gd name="connsiteY12" fmla="*/ 713759 h 1704603"/>
              <a:gd name="connsiteX13" fmla="*/ 0 w 169200"/>
              <a:gd name="connsiteY13" fmla="*/ 581107 h 1704603"/>
              <a:gd name="connsiteX14" fmla="*/ 0 w 169200"/>
              <a:gd name="connsiteY14" fmla="*/ 419556 h 1704603"/>
              <a:gd name="connsiteX15" fmla="*/ 0 w 169200"/>
              <a:gd name="connsiteY15" fmla="*/ 294203 h 1704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69200" h="1704603">
                <a:moveTo>
                  <a:pt x="0" y="0"/>
                </a:moveTo>
                <a:lnTo>
                  <a:pt x="169200" y="0"/>
                </a:lnTo>
                <a:lnTo>
                  <a:pt x="169200" y="294203"/>
                </a:lnTo>
                <a:lnTo>
                  <a:pt x="169200" y="1290426"/>
                </a:lnTo>
                <a:lnTo>
                  <a:pt x="169200" y="1584629"/>
                </a:lnTo>
                <a:lnTo>
                  <a:pt x="0" y="1704603"/>
                </a:lnTo>
                <a:lnTo>
                  <a:pt x="0" y="1410400"/>
                </a:lnTo>
                <a:lnTo>
                  <a:pt x="0" y="1362185"/>
                </a:lnTo>
                <a:lnTo>
                  <a:pt x="0" y="1067982"/>
                </a:lnTo>
                <a:lnTo>
                  <a:pt x="0" y="1056177"/>
                </a:lnTo>
                <a:lnTo>
                  <a:pt x="0" y="875310"/>
                </a:lnTo>
                <a:lnTo>
                  <a:pt x="0" y="761974"/>
                </a:lnTo>
                <a:lnTo>
                  <a:pt x="0" y="713759"/>
                </a:lnTo>
                <a:lnTo>
                  <a:pt x="0" y="581107"/>
                </a:lnTo>
                <a:lnTo>
                  <a:pt x="0" y="419556"/>
                </a:lnTo>
                <a:lnTo>
                  <a:pt x="0" y="29420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88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0B48888-05B3-4F08-8B8D-DD0CFDCBD601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  <p:sp>
        <p:nvSpPr>
          <p:cNvPr id="31" name="Disclaimer" descr="{&quot;templafy&quot;:{&quot;id&quot;:&quot;30d2e808-a618-4297-8b30-f6189db29fff&quot;}}">
            <a:extLst>
              <a:ext uri="{FF2B5EF4-FFF2-40B4-BE49-F238E27FC236}">
                <a16:creationId xmlns:a16="http://schemas.microsoft.com/office/drawing/2014/main" id="{F6C85AAB-8A6C-4BF5-899F-1C4DB59FFA82}"/>
              </a:ext>
            </a:extLst>
          </p:cNvPr>
          <p:cNvSpPr/>
          <p:nvPr userDrawn="1"/>
        </p:nvSpPr>
        <p:spPr bwMode="white">
          <a:xfrm>
            <a:off x="1437471" y="6242400"/>
            <a:ext cx="5471329" cy="44872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0" tIns="0" rIns="0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850" b="0" i="0" u="none" strike="noStrike" cap="none" normalizeH="0" baseline="0" noProof="0">
                <a:ln>
                  <a:noFill/>
                </a:ln>
                <a:solidFill>
                  <a:schemeClr val="bg1"/>
                </a:solidFill>
                <a:effectLst/>
              </a:rPr>
              <a:t>Alt innhold i denne presentasjonen tilhører BDO AS eller BDO Advokater AS og skal ikke kopieres eller distribueres uten vårt skriftlige samtykke.</a:t>
            </a:r>
            <a:endParaRPr lang="nb-NO"/>
          </a:p>
        </p:txBody>
      </p:sp>
      <p:pic>
        <p:nvPicPr>
          <p:cNvPr id="14" name="Logo" descr="{&quot;templafy&quot;:{&quot;id&quot;:&quot;c09ace66-f68f-49c9-bb65-27ba7f716c85&quot;}}">
            <a:extLst>
              <a:ext uri="{FF2B5EF4-FFF2-40B4-BE49-F238E27FC236}">
                <a16:creationId xmlns:a16="http://schemas.microsoft.com/office/drawing/2014/main" id="{08F2A69B-E353-4766-8811-6E9311325E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17943" y="6164541"/>
            <a:ext cx="857325" cy="498197"/>
          </a:xfrm>
          <a:prstGeom prst="rect">
            <a:avLst/>
          </a:prstGeom>
        </p:spPr>
      </p:pic>
      <p:sp>
        <p:nvSpPr>
          <p:cNvPr id="17" name="Name">
            <a:extLst>
              <a:ext uri="{FF2B5EF4-FFF2-40B4-BE49-F238E27FC236}">
                <a16:creationId xmlns:a16="http://schemas.microsoft.com/office/drawing/2014/main" id="{CEEB5135-AB1A-4A1B-ACBA-01CACE665BF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1441441" y="5952141"/>
            <a:ext cx="5467360" cy="16137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GB" sz="850" b="0" kern="1200" cap="all" baseline="0" dirty="0" smtClean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  <a:lvl2pPr>
              <a:spcBef>
                <a:spcPts val="0"/>
              </a:spcBef>
              <a:spcAft>
                <a:spcPts val="0"/>
              </a:spcAft>
              <a:defRPr sz="1600" b="0" cap="all" baseline="0">
                <a:solidFill>
                  <a:schemeClr val="tx1"/>
                </a:solidFill>
              </a:defRPr>
            </a:lvl2pPr>
            <a:lvl3pPr>
              <a:defRPr sz="1600" b="0" cap="all" baseline="0">
                <a:solidFill>
                  <a:schemeClr val="bg1"/>
                </a:solidFill>
              </a:defRPr>
            </a:lvl3pPr>
            <a:lvl4pPr>
              <a:defRPr sz="1600" b="0" cap="all" baseline="0">
                <a:solidFill>
                  <a:schemeClr val="bg1"/>
                </a:solidFill>
              </a:defRPr>
            </a:lvl4pPr>
            <a:lvl5pPr>
              <a:defRPr sz="1600" b="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Forfatternavn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DF888D-898D-4973-9081-8787B366CF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1440" y="6119014"/>
            <a:ext cx="5467360" cy="184666"/>
          </a:xfrm>
        </p:spPr>
        <p:txBody>
          <a:bodyPr/>
          <a:lstStyle>
            <a:lvl1pPr marL="0" indent="0">
              <a:buNone/>
              <a:defRPr sz="850" cap="all">
                <a:solidFill>
                  <a:schemeClr val="bg1"/>
                </a:solidFill>
              </a:defRPr>
            </a:lvl1pPr>
            <a:lvl2pPr marL="252000" indent="0">
              <a:buNone/>
              <a:defRPr sz="850" cap="all"/>
            </a:lvl2pPr>
            <a:lvl3pPr marL="468000" indent="0">
              <a:buNone/>
              <a:defRPr sz="850" cap="all"/>
            </a:lvl3pPr>
            <a:lvl4pPr marL="648000" indent="0">
              <a:buNone/>
              <a:defRPr sz="850" cap="all"/>
            </a:lvl4pPr>
            <a:lvl5pPr>
              <a:buNone/>
              <a:defRPr sz="850" cap="all"/>
            </a:lvl5pPr>
          </a:lstStyle>
          <a:p>
            <a:pPr lvl="0"/>
            <a:r>
              <a:rPr lang="nb-NO"/>
              <a:t>Dato</a:t>
            </a:r>
          </a:p>
        </p:txBody>
      </p:sp>
    </p:spTree>
    <p:extLst>
      <p:ext uri="{BB962C8B-B14F-4D97-AF65-F5344CB8AC3E}">
        <p14:creationId xmlns:p14="http://schemas.microsoft.com/office/powerpoint/2010/main" val="20341888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4 em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Logo firm" descr="A picture containing drawing&#10;&#10;Description automatically generated">
            <a:extLst>
              <a:ext uri="{FF2B5EF4-FFF2-40B4-BE49-F238E27FC236}">
                <a16:creationId xmlns:a16="http://schemas.microsoft.com/office/drawing/2014/main" id="{EDE2DABF-88D0-4B4F-B1D1-208E8FF5DF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38" name="Overlay TP64">
            <a:extLst>
              <a:ext uri="{FF2B5EF4-FFF2-40B4-BE49-F238E27FC236}">
                <a16:creationId xmlns:a16="http://schemas.microsoft.com/office/drawing/2014/main" id="{B2134D88-E330-4489-BB28-8696262FA323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0" y="1"/>
            <a:ext cx="12192000" cy="3429000"/>
          </a:xfrm>
          <a:solidFill>
            <a:schemeClr val="tx2">
              <a:alpha val="60000"/>
            </a:schemeClr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>
              <a:defRPr sz="100"/>
            </a:lvl2pPr>
            <a:lvl3pPr>
              <a:defRPr sz="100"/>
            </a:lvl3pPr>
            <a:lvl4pPr>
              <a:defRPr sz="100"/>
            </a:lvl4pPr>
            <a:lvl5pPr>
              <a:defRPr sz="100"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800806F-9452-4CF6-A959-5F2C4F7F97E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3429000"/>
          </a:xfrm>
        </p:spPr>
        <p:txBody>
          <a:bodyPr lIns="1440000" tIns="72000" rIns="144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plassholderen og sett inn bilde via BrandMaster. For å få fargefilter på bildet, høyreklikk på innsatt bilde og velg Plasser lengst bak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907926-B816-475A-B24F-2BF0A8ED65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agendatitt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1C89EDF-A386-4C22-88DB-3A9B51F592B8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>
          <a:xfrm>
            <a:off x="1528146" y="2948281"/>
            <a:ext cx="972000" cy="972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252000" indent="0" algn="ctr">
              <a:buNone/>
              <a:defRPr/>
            </a:lvl2pPr>
            <a:lvl3pPr marL="468000" indent="0" algn="ctr">
              <a:buNone/>
              <a:defRPr/>
            </a:lvl3pPr>
            <a:lvl4pPr marL="648000" indent="0"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ED13F348-1D7B-41BB-B058-9E98C91A9EA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6376" y="4434349"/>
            <a:ext cx="2386800" cy="15156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sz="1600" b="1" cap="all" baseline="0"/>
            </a:lvl1pPr>
            <a:lvl2pPr marL="0" indent="0" algn="ctr">
              <a:buFont typeface="Arial" panose="020B0604020202020204" pitchFamily="34" charset="0"/>
              <a:buChar char="​"/>
              <a:defRPr sz="1400"/>
            </a:lvl2pPr>
            <a:lvl3pPr marL="180000">
              <a:defRPr sz="1500"/>
            </a:lvl3pPr>
            <a:lvl4pPr marL="324000">
              <a:defRPr sz="1300"/>
            </a:lvl4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F3FE0994-0D41-413C-A9D1-A0D6B7B71905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>
          <a:xfrm>
            <a:off x="4240221" y="2948281"/>
            <a:ext cx="972000" cy="9720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7951BF69-DA76-45B2-8672-39C3F29A719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532821" y="4434349"/>
            <a:ext cx="2386800" cy="15156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b="1" i="0" cap="all" baseline="0"/>
            </a:lvl1pPr>
            <a:lvl2pPr marL="0" indent="0" algn="ctr">
              <a:buFont typeface="Arial" panose="020B0604020202020204" pitchFamily="34" charset="0"/>
              <a:buChar char="​"/>
              <a:defRPr sz="1400"/>
            </a:lvl2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32" name="Text Placeholder 12">
            <a:extLst>
              <a:ext uri="{FF2B5EF4-FFF2-40B4-BE49-F238E27FC236}">
                <a16:creationId xmlns:a16="http://schemas.microsoft.com/office/drawing/2014/main" id="{B418E082-2C11-4F3E-B8D1-5D6EB0FDE3CD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>
          <a:xfrm>
            <a:off x="6952296" y="2948281"/>
            <a:ext cx="972000" cy="9720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3200">
                <a:solidFill>
                  <a:schemeClr val="bg1"/>
                </a:solidFill>
              </a:defRPr>
            </a:lvl1pPr>
            <a:lvl2pPr marL="252000" indent="0" algn="ctr">
              <a:buNone/>
              <a:defRPr sz="2400"/>
            </a:lvl2pPr>
            <a:lvl3pPr marL="468000" indent="0" algn="ctr">
              <a:buNone/>
              <a:defRPr sz="2400"/>
            </a:lvl3pPr>
            <a:lvl4pPr marL="648000" indent="0" algn="ctr">
              <a:buNone/>
              <a:defRPr sz="2400"/>
            </a:lvl4pPr>
            <a:lvl5pPr algn="ctr">
              <a:buNone/>
              <a:defRPr sz="2400"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33" name="Text Placeholder 18">
            <a:extLst>
              <a:ext uri="{FF2B5EF4-FFF2-40B4-BE49-F238E27FC236}">
                <a16:creationId xmlns:a16="http://schemas.microsoft.com/office/drawing/2014/main" id="{846C2C60-D41B-4DE6-A0AE-9DD358749D4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38787" y="4434349"/>
            <a:ext cx="2386800" cy="1515600"/>
          </a:xfrm>
        </p:spPr>
        <p:txBody>
          <a:bodyPr/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Char char="​"/>
              <a:defRPr b="1" cap="all" baseline="0"/>
            </a:lvl1pPr>
            <a:lvl2pPr marL="0" indent="0" algn="ctr">
              <a:buFont typeface="Arial" panose="020B0604020202020204" pitchFamily="34" charset="0"/>
              <a:buChar char="​"/>
              <a:defRPr sz="1400"/>
            </a:lvl2pPr>
            <a:lvl3pPr marL="468000" indent="0">
              <a:buNone/>
              <a:defRPr/>
            </a:lvl3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34" name="Text Placeholder 20">
            <a:extLst>
              <a:ext uri="{FF2B5EF4-FFF2-40B4-BE49-F238E27FC236}">
                <a16:creationId xmlns:a16="http://schemas.microsoft.com/office/drawing/2014/main" id="{4A7E138F-7937-4A28-92C1-60F5878D4137}"/>
              </a:ext>
            </a:extLst>
          </p:cNvPr>
          <p:cNvSpPr>
            <a:spLocks noGrp="1" noChangeAspect="1"/>
          </p:cNvSpPr>
          <p:nvPr>
            <p:ph type="body" sz="quarter" idx="32" hasCustomPrompt="1"/>
          </p:nvPr>
        </p:nvSpPr>
        <p:spPr>
          <a:xfrm>
            <a:off x="9664372" y="2948281"/>
            <a:ext cx="972000" cy="972000"/>
          </a:xfrm>
          <a:prstGeom prst="ellipse">
            <a:avLst/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252000" indent="0">
              <a:buNone/>
              <a:defRPr sz="2400"/>
            </a:lvl2pPr>
            <a:lvl3pPr marL="468000" indent="0">
              <a:buNone/>
              <a:defRPr sz="2400"/>
            </a:lvl3pPr>
            <a:lvl4pPr marL="648000" indent="0">
              <a:buNone/>
              <a:defRPr sz="2400"/>
            </a:lvl4pPr>
            <a:lvl5pPr>
              <a:buNone/>
              <a:defRPr sz="2400"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3F07CFE4-D08E-4F7D-B864-0CA850C6298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960300" y="4434349"/>
            <a:ext cx="2386800" cy="1515600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Char char="​"/>
              <a:defRPr b="1" cap="all" baseline="0"/>
            </a:lvl1pPr>
            <a:lvl2pPr marL="0" indent="0" algn="ctr">
              <a:buFont typeface="Arial" panose="020B0604020202020204" pitchFamily="34" charset="0"/>
              <a:buChar char="​"/>
              <a:defRPr sz="1400"/>
            </a:lvl2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19" name="Marker top TP18">
            <a:extLst>
              <a:ext uri="{FF2B5EF4-FFF2-40B4-BE49-F238E27FC236}">
                <a16:creationId xmlns:a16="http://schemas.microsoft.com/office/drawing/2014/main" id="{1B1603AF-043C-4889-8592-8033B7CA292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8400" y="0"/>
            <a:ext cx="169200" cy="564762"/>
          </a:xfrm>
          <a:custGeom>
            <a:avLst/>
            <a:gdLst>
              <a:gd name="connsiteX0" fmla="*/ 0 w 169200"/>
              <a:gd name="connsiteY0" fmla="*/ 0 h 564762"/>
              <a:gd name="connsiteX1" fmla="*/ 169200 w 169200"/>
              <a:gd name="connsiteY1" fmla="*/ 0 h 564762"/>
              <a:gd name="connsiteX2" fmla="*/ 169200 w 169200"/>
              <a:gd name="connsiteY2" fmla="*/ 444788 h 564762"/>
              <a:gd name="connsiteX3" fmla="*/ 0 w 169200"/>
              <a:gd name="connsiteY3" fmla="*/ 564762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0" y="0"/>
                </a:moveTo>
                <a:lnTo>
                  <a:pt x="169200" y="0"/>
                </a:lnTo>
                <a:lnTo>
                  <a:pt x="169200" y="444788"/>
                </a:lnTo>
                <a:lnTo>
                  <a:pt x="0" y="564762"/>
                </a:lnTo>
                <a:close/>
              </a:path>
            </a:pathLst>
          </a:custGeom>
          <a:solidFill>
            <a:srgbClr val="ED1A3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6C6BD11-AB5C-46DA-8D90-F547C84A5114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643136F-12CD-4424-8DAF-E58627E536F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5165B1-56E6-447B-B111-A4601B5E546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7BDA92B-704D-4420-BCD8-EE377B6A18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58EB4B-8B03-40A0-8204-3FE9A2F39820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For å få fargefilter på bildet: 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Sett inn bilde først, høyreklikk på 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Plasser lengst bak.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862513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6 em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B72627-0614-4AF5-962C-DAB7AE2879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/>
              <a:t>Klikk for å legge til agendatitt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49425F4-D0B7-405E-AB35-E67A6696CE5B}"/>
              </a:ext>
            </a:extLst>
          </p:cNvPr>
          <p:cNvSpPr>
            <a:spLocks noGrp="1" noChangeAspect="1"/>
          </p:cNvSpPr>
          <p:nvPr>
            <p:ph type="body" sz="quarter" idx="13" hasCustomPrompt="1"/>
          </p:nvPr>
        </p:nvSpPr>
        <p:spPr>
          <a:xfrm>
            <a:off x="1215647" y="1903412"/>
            <a:ext cx="864000" cy="86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252000" indent="0" algn="ctr">
              <a:buNone/>
              <a:defRPr/>
            </a:lvl2pPr>
            <a:lvl3pPr marL="468000" indent="0" algn="ctr">
              <a:buNone/>
              <a:defRPr/>
            </a:lvl3pPr>
            <a:lvl4pPr marL="648000" indent="0"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7F73489-6F0E-4DFD-A4D3-2A3E34E259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06638" y="1903412"/>
            <a:ext cx="3411537" cy="1188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 cap="all" baseline="0"/>
            </a:lvl1pPr>
            <a:lvl2pPr marL="0" indent="0">
              <a:buFont typeface="Arial" panose="020B0604020202020204" pitchFamily="34" charset="0"/>
              <a:buChar char="​"/>
              <a:defRPr sz="1400"/>
            </a:lvl2pPr>
            <a:lvl3pPr marL="180000">
              <a:defRPr sz="1500"/>
            </a:lvl3pPr>
            <a:lvl4pPr marL="324000">
              <a:defRPr sz="1300"/>
            </a:lvl4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7EC52AE-A58A-4C21-83C4-5F5D62577EF3}"/>
              </a:ext>
            </a:extLst>
          </p:cNvPr>
          <p:cNvSpPr>
            <a:spLocks noGrp="1" noChangeAspect="1"/>
          </p:cNvSpPr>
          <p:nvPr>
            <p:ph type="body" sz="quarter" idx="25" hasCustomPrompt="1"/>
          </p:nvPr>
        </p:nvSpPr>
        <p:spPr>
          <a:xfrm>
            <a:off x="1215647" y="3333481"/>
            <a:ext cx="864000" cy="864000"/>
          </a:xfrm>
          <a:prstGeom prst="ellipse">
            <a:avLst/>
          </a:prstGeom>
          <a:solidFill>
            <a:schemeClr val="accent2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76CBAE-7129-4B66-A837-4523B599E8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306638" y="3333481"/>
            <a:ext cx="3411537" cy="1220125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 i="0" cap="all" baseline="0"/>
            </a:lvl1pPr>
            <a:lvl2pPr marL="0" indent="0">
              <a:buFont typeface="Arial" panose="020B0604020202020204" pitchFamily="34" charset="0"/>
              <a:buChar char="​"/>
              <a:defRPr sz="1400"/>
            </a:lvl2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386E6C0-B168-40B4-8EF0-F46A6ED5DCB8}"/>
              </a:ext>
            </a:extLst>
          </p:cNvPr>
          <p:cNvSpPr>
            <a:spLocks noGrp="1" noChangeAspect="1"/>
          </p:cNvSpPr>
          <p:nvPr>
            <p:ph type="body" sz="quarter" idx="27" hasCustomPrompt="1"/>
          </p:nvPr>
        </p:nvSpPr>
        <p:spPr>
          <a:xfrm>
            <a:off x="1215647" y="4763550"/>
            <a:ext cx="864000" cy="864000"/>
          </a:xfrm>
          <a:prstGeom prst="ellipse">
            <a:avLst/>
          </a:prstGeom>
          <a:solidFill>
            <a:schemeClr val="tx2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marL="252000" indent="0" algn="ctr">
              <a:buNone/>
              <a:defRPr sz="2400"/>
            </a:lvl2pPr>
            <a:lvl3pPr marL="468000" indent="0" algn="ctr">
              <a:buNone/>
              <a:defRPr sz="2400"/>
            </a:lvl3pPr>
            <a:lvl4pPr marL="648000" indent="0" algn="ctr">
              <a:buNone/>
              <a:defRPr sz="2400"/>
            </a:lvl4pPr>
            <a:lvl5pPr algn="ctr">
              <a:buNone/>
              <a:defRPr sz="2400"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F7B0C8AD-C1E1-423E-959F-DD6C94D30ED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306638" y="4763550"/>
            <a:ext cx="3411537" cy="11864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b="1" cap="all" baseline="0"/>
            </a:lvl1pPr>
            <a:lvl2pPr marL="0" indent="0">
              <a:buFont typeface="Arial" panose="020B0604020202020204" pitchFamily="34" charset="0"/>
              <a:buChar char="​"/>
              <a:defRPr sz="1400"/>
            </a:lvl2pPr>
            <a:lvl3pPr marL="468000" indent="0">
              <a:buNone/>
              <a:defRPr/>
            </a:lvl3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52020E-9A03-4166-998C-DD90F11E8572}"/>
              </a:ext>
            </a:extLst>
          </p:cNvPr>
          <p:cNvSpPr>
            <a:spLocks noGrp="1" noChangeAspect="1"/>
          </p:cNvSpPr>
          <p:nvPr>
            <p:ph type="body" sz="quarter" idx="29" hasCustomPrompt="1"/>
          </p:nvPr>
        </p:nvSpPr>
        <p:spPr>
          <a:xfrm>
            <a:off x="6586447" y="1903412"/>
            <a:ext cx="864000" cy="864000"/>
          </a:xfrm>
          <a:prstGeom prst="ellipse">
            <a:avLst/>
          </a:prstGeom>
          <a:solidFill>
            <a:schemeClr val="accent4"/>
          </a:solidFill>
        </p:spPr>
        <p:txBody>
          <a:bodyPr anchor="ctr" anchorCtr="0"/>
          <a:lstStyle>
            <a:lvl1pPr marL="0" indent="0" algn="ctr">
              <a:buNone/>
              <a:defRPr sz="2800"/>
            </a:lvl1pPr>
            <a:lvl2pPr marL="252000" indent="0">
              <a:buNone/>
              <a:defRPr sz="2400"/>
            </a:lvl2pPr>
            <a:lvl3pPr marL="468000" indent="0">
              <a:buNone/>
              <a:defRPr sz="2400"/>
            </a:lvl3pPr>
            <a:lvl4pPr marL="648000" indent="0">
              <a:buNone/>
              <a:defRPr sz="2400"/>
            </a:lvl4pPr>
            <a:lvl5pPr>
              <a:buNone/>
              <a:defRPr sz="2400"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D08BF315-C51E-404B-B589-04A965121D5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62863" y="1903412"/>
            <a:ext cx="3411537" cy="1188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 cap="all" baseline="0"/>
            </a:lvl1pPr>
            <a:lvl2pPr marL="0" indent="0">
              <a:buFont typeface="Arial" panose="020B0604020202020204" pitchFamily="34" charset="0"/>
              <a:buChar char="​"/>
              <a:defRPr sz="1400"/>
            </a:lvl2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07D7F20-78D4-486A-A017-B8D56503CC22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>
          <a:xfrm>
            <a:off x="6586447" y="3333481"/>
            <a:ext cx="864000" cy="864000"/>
          </a:xfrm>
          <a:prstGeom prst="ellipse">
            <a:avLst/>
          </a:prstGeom>
          <a:solidFill>
            <a:schemeClr val="accent5"/>
          </a:solidFill>
        </p:spPr>
        <p:txBody>
          <a:bodyPr anchor="ctr" anchorCtr="0"/>
          <a:lstStyle>
            <a:lvl1pPr marL="0" indent="0" algn="ctr">
              <a:buNone/>
              <a:defRPr sz="2800">
                <a:solidFill>
                  <a:schemeClr val="bg1"/>
                </a:solidFill>
              </a:defRPr>
            </a:lvl1pPr>
            <a:lvl2pPr marL="252000" indent="0">
              <a:buNone/>
              <a:defRPr sz="2800"/>
            </a:lvl2pPr>
            <a:lvl3pPr marL="468000" indent="0">
              <a:buNone/>
              <a:defRPr sz="2800"/>
            </a:lvl3pPr>
            <a:lvl4pPr marL="648000" indent="0">
              <a:buNone/>
              <a:defRPr sz="2800"/>
            </a:lvl4pPr>
            <a:lvl5pPr>
              <a:buNone/>
              <a:defRPr sz="2800"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A2B76668-0542-4C80-9110-88533D0D3CB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77439" y="3333481"/>
            <a:ext cx="3396962" cy="1187999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 i="0" cap="all" baseline="0"/>
            </a:lvl1pPr>
            <a:lvl2pPr marL="0" indent="0">
              <a:buFont typeface="Arial" panose="020B0604020202020204" pitchFamily="34" charset="0"/>
              <a:buChar char="​"/>
              <a:defRPr sz="1400"/>
            </a:lvl2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44FA2A4C-CC25-4934-804D-7529909B438D}"/>
              </a:ext>
            </a:extLst>
          </p:cNvPr>
          <p:cNvSpPr>
            <a:spLocks noGrp="1" noChangeAspect="1"/>
          </p:cNvSpPr>
          <p:nvPr>
            <p:ph type="body" sz="quarter" idx="33" hasCustomPrompt="1"/>
          </p:nvPr>
        </p:nvSpPr>
        <p:spPr>
          <a:xfrm>
            <a:off x="6586160" y="4763550"/>
            <a:ext cx="864000" cy="864000"/>
          </a:xfrm>
          <a:prstGeom prst="ellipse">
            <a:avLst/>
          </a:prstGeom>
          <a:solidFill>
            <a:schemeClr val="accent6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None/>
              <a:defRPr sz="28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defRPr sz="2800"/>
            </a:lvl2pPr>
            <a:lvl3pPr algn="ctr">
              <a:spcBef>
                <a:spcPts val="0"/>
              </a:spcBef>
              <a:defRPr sz="2800"/>
            </a:lvl3pPr>
            <a:lvl4pPr algn="ctr">
              <a:spcBef>
                <a:spcPts val="0"/>
              </a:spcBef>
              <a:defRPr sz="2800"/>
            </a:lvl4pPr>
            <a:lvl5pPr algn="ctr">
              <a:spcBef>
                <a:spcPts val="0"/>
              </a:spcBef>
              <a:defRPr sz="2800"/>
            </a:lvl5pPr>
          </a:lstStyle>
          <a:p>
            <a:pPr lvl="0"/>
            <a:r>
              <a:rPr lang="nb-NO"/>
              <a:t>0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5B8703A-4810-4025-85AA-BA3E539A81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7677439" y="4763550"/>
            <a:ext cx="3396961" cy="11864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b="1" i="0" cap="all" baseline="0"/>
            </a:lvl1pPr>
            <a:lvl2pPr marL="0" indent="0">
              <a:buFont typeface="Arial" panose="020B0604020202020204" pitchFamily="34" charset="0"/>
              <a:buChar char="​"/>
              <a:defRPr sz="1400"/>
            </a:lvl2pPr>
          </a:lstStyle>
          <a:p>
            <a:pPr lvl="0"/>
            <a:r>
              <a:rPr lang="nb-NO"/>
              <a:t>Klikk for å legge til tittel</a:t>
            </a:r>
          </a:p>
          <a:p>
            <a:pPr lvl="1"/>
            <a:r>
              <a:rPr lang="nb-NO"/>
              <a:t>Second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CDA467-15EE-40C0-9499-A46489A220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AA03DF-E87C-42FC-8796-0BF97366150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4B17066-35A9-4CE8-A2C9-70D78487F1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4906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3BDBC526-6DCD-4FF6-8395-D8C22E46E527}"/>
              </a:ext>
            </a:extLst>
          </p:cNvPr>
          <p:cNvGrpSpPr/>
          <p:nvPr/>
        </p:nvGrpSpPr>
        <p:grpSpPr>
          <a:xfrm>
            <a:off x="613998" y="5334748"/>
            <a:ext cx="678135" cy="990000"/>
            <a:chOff x="10490969" y="1448827"/>
            <a:chExt cx="678135" cy="990000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02ECB475-568C-47AC-B16D-2E202DEB2DE0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68976" y="1743588"/>
              <a:ext cx="926985" cy="463493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ffectLst>
              <a:innerShdw blurRad="127000" dist="50800" dir="13500000">
                <a:schemeClr val="accent1">
                  <a:lumMod val="40000"/>
                  <a:lumOff val="6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80D8764-525A-441E-B58F-068E82F09714}"/>
                </a:ext>
              </a:extLst>
            </p:cNvPr>
            <p:cNvSpPr/>
            <p:nvPr/>
          </p:nvSpPr>
          <p:spPr>
            <a:xfrm rot="8100000" flipH="1" flipV="1">
              <a:off x="11115555" y="1939340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11196109-6F2B-4738-B2FC-2CCC753AABD4}"/>
                </a:ext>
              </a:extLst>
            </p:cNvPr>
            <p:cNvSpPr/>
            <p:nvPr/>
          </p:nvSpPr>
          <p:spPr>
            <a:xfrm rot="8100000" flipH="1" flipV="1">
              <a:off x="10625042" y="1448827"/>
              <a:ext cx="53549" cy="233295"/>
            </a:xfrm>
            <a:prstGeom prst="ellipse">
              <a:avLst/>
            </a:prstGeom>
            <a:solidFill>
              <a:schemeClr val="bg2">
                <a:lumMod val="90000"/>
                <a:lumOff val="10000"/>
              </a:schemeClr>
            </a:solidFill>
            <a:ln>
              <a:noFill/>
            </a:ln>
            <a:effectLst>
              <a:innerShdw blurRad="635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7E468C2-69B8-470B-85E3-801A3CB1D7E2}"/>
                </a:ext>
              </a:extLst>
            </p:cNvPr>
            <p:cNvSpPr>
              <a:spLocks noChangeAspect="1"/>
            </p:cNvSpPr>
            <p:nvPr/>
          </p:nvSpPr>
          <p:spPr>
            <a:xfrm rot="2700000" flipH="1" flipV="1">
              <a:off x="10292519" y="1686748"/>
              <a:ext cx="926985" cy="530086"/>
            </a:xfrm>
            <a:custGeom>
              <a:avLst/>
              <a:gdLst>
                <a:gd name="connsiteX0" fmla="*/ 1329373 w 2658746"/>
                <a:gd name="connsiteY0" fmla="*/ 0 h 1329373"/>
                <a:gd name="connsiteX1" fmla="*/ 2658746 w 2658746"/>
                <a:gd name="connsiteY1" fmla="*/ 1329373 h 1329373"/>
                <a:gd name="connsiteX2" fmla="*/ 1994059 w 2658746"/>
                <a:gd name="connsiteY2" fmla="*/ 1329373 h 1329373"/>
                <a:gd name="connsiteX3" fmla="*/ 1329373 w 2658746"/>
                <a:gd name="connsiteY3" fmla="*/ 664687 h 1329373"/>
                <a:gd name="connsiteX4" fmla="*/ 664687 w 2658746"/>
                <a:gd name="connsiteY4" fmla="*/ 1329373 h 1329373"/>
                <a:gd name="connsiteX5" fmla="*/ 0 w 2658746"/>
                <a:gd name="connsiteY5" fmla="*/ 1329373 h 1329373"/>
                <a:gd name="connsiteX6" fmla="*/ 1329373 w 2658746"/>
                <a:gd name="connsiteY6" fmla="*/ 0 h 13293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658746" h="1329373">
                  <a:moveTo>
                    <a:pt x="1329373" y="0"/>
                  </a:moveTo>
                  <a:cubicBezTo>
                    <a:pt x="2063565" y="0"/>
                    <a:pt x="2658746" y="595181"/>
                    <a:pt x="2658746" y="1329373"/>
                  </a:cubicBezTo>
                  <a:lnTo>
                    <a:pt x="1994059" y="1329373"/>
                  </a:lnTo>
                  <a:cubicBezTo>
                    <a:pt x="1994059" y="962277"/>
                    <a:pt x="1696469" y="664687"/>
                    <a:pt x="1329373" y="664687"/>
                  </a:cubicBezTo>
                  <a:cubicBezTo>
                    <a:pt x="962277" y="664687"/>
                    <a:pt x="664687" y="962277"/>
                    <a:pt x="664687" y="1329373"/>
                  </a:cubicBezTo>
                  <a:lnTo>
                    <a:pt x="0" y="1329373"/>
                  </a:lnTo>
                  <a:cubicBezTo>
                    <a:pt x="0" y="595181"/>
                    <a:pt x="595181" y="0"/>
                    <a:pt x="1329373" y="0"/>
                  </a:cubicBezTo>
                  <a:close/>
                </a:path>
              </a:pathLst>
            </a:custGeom>
            <a:solidFill>
              <a:schemeClr val="bg2">
                <a:lumMod val="50000"/>
                <a:lumOff val="50000"/>
                <a:alpha val="20000"/>
              </a:schemeClr>
            </a:solidFill>
            <a:ln>
              <a:noFill/>
            </a:ln>
            <a:effectLst>
              <a:softEdge rad="1016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1A4B040-51E3-4DA0-B21D-EEE173E753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49275"/>
            <a:ext cx="11091600" cy="1332000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A2CD90-429B-4A55-B6C8-DD6CE699411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2113199"/>
            <a:ext cx="11090274" cy="39796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4EE704-5DCA-484E-85E0-0E3A7B1C50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8C025-CD7A-4966-867E-81CF82B15267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A69B66-1C18-44A2-93F7-97DED26F24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44B5A0-66FA-433A-8DC5-C097C63B4D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76607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lysbilde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20700" y="1904400"/>
            <a:ext cx="11151676" cy="523857"/>
          </a:xfrm>
          <a:prstGeom prst="rect">
            <a:avLst/>
          </a:prstGeom>
        </p:spPr>
        <p:txBody>
          <a:bodyPr wrap="square" lIns="0" tIns="36000" rIns="0" bIns="0" anchor="t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divi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20699" y="2527060"/>
            <a:ext cx="11153355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609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legge til en undertittel</a:t>
            </a:r>
          </a:p>
        </p:txBody>
      </p:sp>
      <p:sp>
        <p:nvSpPr>
          <p:cNvPr id="24" name="Marker bottom">
            <a:extLst>
              <a:ext uri="{FF2B5EF4-FFF2-40B4-BE49-F238E27FC236}">
                <a16:creationId xmlns:a16="http://schemas.microsoft.com/office/drawing/2014/main" id="{760DE507-0B62-4793-9A57-ED813263FF7D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788400" y="6024750"/>
            <a:ext cx="169200" cy="833250"/>
          </a:xfrm>
          <a:custGeom>
            <a:avLst/>
            <a:gdLst>
              <a:gd name="connsiteX0" fmla="*/ 169200 w 169200"/>
              <a:gd name="connsiteY0" fmla="*/ 0 h 833250"/>
              <a:gd name="connsiteX1" fmla="*/ 169200 w 169200"/>
              <a:gd name="connsiteY1" fmla="*/ 321812 h 833250"/>
              <a:gd name="connsiteX2" fmla="*/ 169200 w 169200"/>
              <a:gd name="connsiteY2" fmla="*/ 495070 h 833250"/>
              <a:gd name="connsiteX3" fmla="*/ 169200 w 169200"/>
              <a:gd name="connsiteY3" fmla="*/ 643624 h 833250"/>
              <a:gd name="connsiteX4" fmla="*/ 169200 w 169200"/>
              <a:gd name="connsiteY4" fmla="*/ 646519 h 833250"/>
              <a:gd name="connsiteX5" fmla="*/ 169200 w 169200"/>
              <a:gd name="connsiteY5" fmla="*/ 833250 h 833250"/>
              <a:gd name="connsiteX6" fmla="*/ 0 w 169200"/>
              <a:gd name="connsiteY6" fmla="*/ 833250 h 833250"/>
              <a:gd name="connsiteX7" fmla="*/ 0 w 169200"/>
              <a:gd name="connsiteY7" fmla="*/ 766493 h 833250"/>
              <a:gd name="connsiteX8" fmla="*/ 0 w 169200"/>
              <a:gd name="connsiteY8" fmla="*/ 643624 h 833250"/>
              <a:gd name="connsiteX9" fmla="*/ 0 w 169200"/>
              <a:gd name="connsiteY9" fmla="*/ 615043 h 833250"/>
              <a:gd name="connsiteX10" fmla="*/ 0 w 169200"/>
              <a:gd name="connsiteY10" fmla="*/ 441786 h 833250"/>
              <a:gd name="connsiteX11" fmla="*/ 0 w 169200"/>
              <a:gd name="connsiteY11" fmla="*/ 119974 h 833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69200" h="833250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646519"/>
                </a:lnTo>
                <a:lnTo>
                  <a:pt x="169200" y="833250"/>
                </a:lnTo>
                <a:lnTo>
                  <a:pt x="0" y="833250"/>
                </a:lnTo>
                <a:lnTo>
                  <a:pt x="0" y="766493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88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19" name="Marker top">
            <a:extLst>
              <a:ext uri="{FF2B5EF4-FFF2-40B4-BE49-F238E27FC236}">
                <a16:creationId xmlns:a16="http://schemas.microsoft.com/office/drawing/2014/main" id="{9238F91C-A3B4-442D-B69B-D035BD9BF08D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788400" y="0"/>
            <a:ext cx="169200" cy="1404070"/>
          </a:xfrm>
          <a:custGeom>
            <a:avLst/>
            <a:gdLst>
              <a:gd name="connsiteX0" fmla="*/ 0 w 169200"/>
              <a:gd name="connsiteY0" fmla="*/ 0 h 1404070"/>
              <a:gd name="connsiteX1" fmla="*/ 169200 w 169200"/>
              <a:gd name="connsiteY1" fmla="*/ 0 h 1404070"/>
              <a:gd name="connsiteX2" fmla="*/ 169200 w 169200"/>
              <a:gd name="connsiteY2" fmla="*/ 989893 h 1404070"/>
              <a:gd name="connsiteX3" fmla="*/ 169200 w 169200"/>
              <a:gd name="connsiteY3" fmla="*/ 1284096 h 1404070"/>
              <a:gd name="connsiteX4" fmla="*/ 0 w 169200"/>
              <a:gd name="connsiteY4" fmla="*/ 1404070 h 1404070"/>
              <a:gd name="connsiteX5" fmla="*/ 0 w 169200"/>
              <a:gd name="connsiteY5" fmla="*/ 1109867 h 1404070"/>
              <a:gd name="connsiteX6" fmla="*/ 0 w 169200"/>
              <a:gd name="connsiteY6" fmla="*/ 1061652 h 1404070"/>
              <a:gd name="connsiteX7" fmla="*/ 0 w 169200"/>
              <a:gd name="connsiteY7" fmla="*/ 767449 h 1404070"/>
              <a:gd name="connsiteX8" fmla="*/ 0 w 169200"/>
              <a:gd name="connsiteY8" fmla="*/ 755644 h 1404070"/>
              <a:gd name="connsiteX9" fmla="*/ 0 w 169200"/>
              <a:gd name="connsiteY9" fmla="*/ 574777 h 1404070"/>
              <a:gd name="connsiteX10" fmla="*/ 0 w 169200"/>
              <a:gd name="connsiteY10" fmla="*/ 461441 h 1404070"/>
              <a:gd name="connsiteX11" fmla="*/ 0 w 169200"/>
              <a:gd name="connsiteY11" fmla="*/ 413226 h 1404070"/>
              <a:gd name="connsiteX12" fmla="*/ 0 w 169200"/>
              <a:gd name="connsiteY12" fmla="*/ 280574 h 1404070"/>
              <a:gd name="connsiteX13" fmla="*/ 0 w 169200"/>
              <a:gd name="connsiteY13" fmla="*/ 119023 h 140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69200" h="1404070">
                <a:moveTo>
                  <a:pt x="0" y="0"/>
                </a:moveTo>
                <a:lnTo>
                  <a:pt x="169200" y="0"/>
                </a:lnTo>
                <a:lnTo>
                  <a:pt x="169200" y="989893"/>
                </a:lnTo>
                <a:lnTo>
                  <a:pt x="169200" y="1284096"/>
                </a:lnTo>
                <a:lnTo>
                  <a:pt x="0" y="1404070"/>
                </a:lnTo>
                <a:lnTo>
                  <a:pt x="0" y="1109867"/>
                </a:lnTo>
                <a:lnTo>
                  <a:pt x="0" y="1061652"/>
                </a:lnTo>
                <a:lnTo>
                  <a:pt x="0" y="767449"/>
                </a:lnTo>
                <a:lnTo>
                  <a:pt x="0" y="755644"/>
                </a:lnTo>
                <a:lnTo>
                  <a:pt x="0" y="574777"/>
                </a:lnTo>
                <a:lnTo>
                  <a:pt x="0" y="461441"/>
                </a:lnTo>
                <a:lnTo>
                  <a:pt x="0" y="413226"/>
                </a:lnTo>
                <a:lnTo>
                  <a:pt x="0" y="280574"/>
                </a:lnTo>
                <a:lnTo>
                  <a:pt x="0" y="119023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88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3200" b="1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LD_ClientName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25" name="Logo firm">
            <a:extLst>
              <a:ext uri="{FF2B5EF4-FFF2-40B4-BE49-F238E27FC236}">
                <a16:creationId xmlns:a16="http://schemas.microsoft.com/office/drawing/2014/main" id="{09CDFC06-CEE2-40BB-B715-E4FB0A1CDA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DDFA806-8246-4FBF-839F-E357F49BBB90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913167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lysbilde (bildebakgrunn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erlay">
            <a:extLst>
              <a:ext uri="{FF2B5EF4-FFF2-40B4-BE49-F238E27FC236}">
                <a16:creationId xmlns:a16="http://schemas.microsoft.com/office/drawing/2014/main" id="{5FD4495A-918A-492D-97F0-2E055E1FAC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91999" cy="6858000"/>
          </a:xfrm>
          <a:solidFill>
            <a:schemeClr val="accent1">
              <a:alpha val="60000"/>
            </a:schemeClr>
          </a:solidFill>
        </p:spPr>
        <p:txBody>
          <a:bodyPr anchor="b" anchorCtr="0"/>
          <a:lstStyle>
            <a:lvl1pPr marL="0" indent="0">
              <a:buFontTx/>
              <a:buNone/>
              <a:defRPr sz="100">
                <a:noFill/>
              </a:defRPr>
            </a:lvl1pPr>
            <a:lvl2pPr marL="4680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9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792000" indent="0">
              <a:buFontTx/>
              <a:buNone/>
              <a:defRPr>
                <a:solidFill>
                  <a:schemeClr val="bg1"/>
                </a:solidFill>
              </a:defRPr>
            </a:lvl4pPr>
            <a:lvl5pPr marL="7920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Disclaimer</a:t>
            </a:r>
          </a:p>
        </p:txBody>
      </p:sp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2B61DE8A-E3C8-4936-A7F4-F0789D0357D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2232000" tIns="180000" rIns="2232000"/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b-NO" sz="1800"/>
              <a:t>Klikk på plassholderen og sett inn bilde via BrandMaster. For å få fargefilter på bildet, høyreklikk på innsatt bilde og velg Plasser lengst bak.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20700" y="1904400"/>
            <a:ext cx="11151676" cy="523857"/>
          </a:xfrm>
          <a:prstGeom prst="rect">
            <a:avLst/>
          </a:prstGeom>
        </p:spPr>
        <p:txBody>
          <a:bodyPr wrap="square" lIns="0" tIns="36000" rIns="0" bIns="0" anchor="t">
            <a:spAutoFit/>
          </a:bodyPr>
          <a:lstStyle>
            <a:lvl1pPr algn="l">
              <a:defRPr sz="3600" b="1" cap="all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dividertittel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20699" y="2527060"/>
            <a:ext cx="11153355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cap="none" baseline="0">
                <a:solidFill>
                  <a:schemeClr val="bg1"/>
                </a:solidFill>
                <a:latin typeface="+mn-lt"/>
              </a:defRPr>
            </a:lvl1pPr>
            <a:lvl2pPr marL="609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7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6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57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legge til en undertitt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LD_ClientNamePresentationTitle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2" name="Slide Number Placeholder 7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Marker top TP17">
            <a:extLst>
              <a:ext uri="{FF2B5EF4-FFF2-40B4-BE49-F238E27FC236}">
                <a16:creationId xmlns:a16="http://schemas.microsoft.com/office/drawing/2014/main" id="{925E39F5-51A8-4503-99E9-4C54C96C157C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788400" y="0"/>
            <a:ext cx="169200" cy="1404070"/>
          </a:xfrm>
          <a:custGeom>
            <a:avLst/>
            <a:gdLst>
              <a:gd name="connsiteX0" fmla="*/ 0 w 169200"/>
              <a:gd name="connsiteY0" fmla="*/ 0 h 1410400"/>
              <a:gd name="connsiteX1" fmla="*/ 169200 w 169200"/>
              <a:gd name="connsiteY1" fmla="*/ 0 h 1410400"/>
              <a:gd name="connsiteX2" fmla="*/ 169200 w 169200"/>
              <a:gd name="connsiteY2" fmla="*/ 1290426 h 1410400"/>
              <a:gd name="connsiteX3" fmla="*/ 0 w 169200"/>
              <a:gd name="connsiteY3" fmla="*/ 1410400 h 1410400"/>
              <a:gd name="connsiteX4" fmla="*/ 0 w 169200"/>
              <a:gd name="connsiteY4" fmla="*/ 1067982 h 1410400"/>
              <a:gd name="connsiteX5" fmla="*/ 0 w 169200"/>
              <a:gd name="connsiteY5" fmla="*/ 761974 h 1410400"/>
              <a:gd name="connsiteX6" fmla="*/ 0 w 169200"/>
              <a:gd name="connsiteY6" fmla="*/ 581107 h 1410400"/>
              <a:gd name="connsiteX7" fmla="*/ 0 w 169200"/>
              <a:gd name="connsiteY7" fmla="*/ 419556 h 141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200" h="1410400">
                <a:moveTo>
                  <a:pt x="0" y="0"/>
                </a:moveTo>
                <a:lnTo>
                  <a:pt x="169200" y="0"/>
                </a:lnTo>
                <a:lnTo>
                  <a:pt x="169200" y="1290426"/>
                </a:lnTo>
                <a:lnTo>
                  <a:pt x="0" y="1410400"/>
                </a:lnTo>
                <a:lnTo>
                  <a:pt x="0" y="1067982"/>
                </a:lnTo>
                <a:lnTo>
                  <a:pt x="0" y="761974"/>
                </a:lnTo>
                <a:lnTo>
                  <a:pt x="0" y="581107"/>
                </a:lnTo>
                <a:lnTo>
                  <a:pt x="0" y="419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5" name="Marker bottom TP20">
            <a:extLst>
              <a:ext uri="{FF2B5EF4-FFF2-40B4-BE49-F238E27FC236}">
                <a16:creationId xmlns:a16="http://schemas.microsoft.com/office/drawing/2014/main" id="{8F45569C-F7FB-49E9-AF85-B307D29122A2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788400" y="6024750"/>
            <a:ext cx="169200" cy="833250"/>
          </a:xfrm>
          <a:custGeom>
            <a:avLst/>
            <a:gdLst>
              <a:gd name="connsiteX0" fmla="*/ 169200 w 169200"/>
              <a:gd name="connsiteY0" fmla="*/ 0 h 834532"/>
              <a:gd name="connsiteX1" fmla="*/ 169200 w 169200"/>
              <a:gd name="connsiteY1" fmla="*/ 321812 h 834532"/>
              <a:gd name="connsiteX2" fmla="*/ 169200 w 169200"/>
              <a:gd name="connsiteY2" fmla="*/ 495070 h 834532"/>
              <a:gd name="connsiteX3" fmla="*/ 169200 w 169200"/>
              <a:gd name="connsiteY3" fmla="*/ 643624 h 834532"/>
              <a:gd name="connsiteX4" fmla="*/ 169200 w 169200"/>
              <a:gd name="connsiteY4" fmla="*/ 834532 h 834532"/>
              <a:gd name="connsiteX5" fmla="*/ 0 w 169200"/>
              <a:gd name="connsiteY5" fmla="*/ 834532 h 834532"/>
              <a:gd name="connsiteX6" fmla="*/ 0 w 169200"/>
              <a:gd name="connsiteY6" fmla="*/ 643624 h 834532"/>
              <a:gd name="connsiteX7" fmla="*/ 0 w 169200"/>
              <a:gd name="connsiteY7" fmla="*/ 615043 h 834532"/>
              <a:gd name="connsiteX8" fmla="*/ 0 w 169200"/>
              <a:gd name="connsiteY8" fmla="*/ 441786 h 834532"/>
              <a:gd name="connsiteX9" fmla="*/ 0 w 169200"/>
              <a:gd name="connsiteY9" fmla="*/ 119974 h 83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9200" h="834532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834532"/>
                </a:lnTo>
                <a:lnTo>
                  <a:pt x="0" y="834532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9" name="Logo firm TP">
            <a:extLst>
              <a:ext uri="{FF2B5EF4-FFF2-40B4-BE49-F238E27FC236}">
                <a16:creationId xmlns:a16="http://schemas.microsoft.com/office/drawing/2014/main" id="{9D9BC31A-E507-45C4-ACAD-88FEDF40FA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C0C2C98-3CC8-470B-ACA3-A4CBEDAB9DF2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fargefilter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Sett inn bilde først, høyreklikk på 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Plasser lengst ba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Klikk så på fargefilter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853680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fel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color">
            <a:extLst>
              <a:ext uri="{FF2B5EF4-FFF2-40B4-BE49-F238E27FC236}">
                <a16:creationId xmlns:a16="http://schemas.microsoft.com/office/drawing/2014/main" id="{2DC95A30-5B55-4717-A277-B794EAFF52E5}"/>
              </a:ext>
            </a:extLst>
          </p:cNvPr>
          <p:cNvSpPr/>
          <p:nvPr userDrawn="1"/>
        </p:nvSpPr>
        <p:spPr bwMode="auto">
          <a:xfrm>
            <a:off x="522006" y="1903413"/>
            <a:ext cx="11147993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134E2B-56D6-4554-B4FD-76E3FAA6B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90D438E-8811-4B50-8443-ABE468526FA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3999" y="2156400"/>
            <a:ext cx="10644923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8A0899-ED87-4F59-98D8-930818EF513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7FE63F-2B02-4CC0-9887-785E27CA4B4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ACFCF3-964E-497E-BD0C-FECAEE74F19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624673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2 tekstfel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color">
            <a:extLst>
              <a:ext uri="{FF2B5EF4-FFF2-40B4-BE49-F238E27FC236}">
                <a16:creationId xmlns:a16="http://schemas.microsoft.com/office/drawing/2014/main" id="{2DC95A30-5B55-4717-A277-B794EAFF52E5}"/>
              </a:ext>
            </a:extLst>
          </p:cNvPr>
          <p:cNvSpPr/>
          <p:nvPr userDrawn="1"/>
        </p:nvSpPr>
        <p:spPr bwMode="auto">
          <a:xfrm>
            <a:off x="522006" y="1903413"/>
            <a:ext cx="11147993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134E2B-56D6-4554-B4FD-76E3FAA6B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A02DECE-6860-47F7-9AC8-8C95195BB2D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3999" y="2156400"/>
            <a:ext cx="5241600" cy="3549600"/>
          </a:xfrm>
        </p:spPr>
        <p:txBody>
          <a:bodyPr numCol="1" spcCol="158400"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6D648AD-495F-432D-AD21-50E78A9C680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6676" y="2156400"/>
            <a:ext cx="52416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1CD652-1F4C-4E6F-8A46-37984BBB5B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09D4BB-7BFB-47DF-B492-59A7588CA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BEAE36-3D20-442F-BAB7-770B77B838C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6994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3 tekstfelt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color">
            <a:extLst>
              <a:ext uri="{FF2B5EF4-FFF2-40B4-BE49-F238E27FC236}">
                <a16:creationId xmlns:a16="http://schemas.microsoft.com/office/drawing/2014/main" id="{2DC95A30-5B55-4717-A277-B794EAFF52E5}"/>
              </a:ext>
            </a:extLst>
          </p:cNvPr>
          <p:cNvSpPr/>
          <p:nvPr userDrawn="1"/>
        </p:nvSpPr>
        <p:spPr bwMode="auto">
          <a:xfrm>
            <a:off x="522006" y="1903413"/>
            <a:ext cx="11147993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134E2B-56D6-4554-B4FD-76E3FAA6B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A02DECE-6860-47F7-9AC8-8C95195BB2D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3999" y="2156400"/>
            <a:ext cx="3445200" cy="3549600"/>
          </a:xfrm>
        </p:spPr>
        <p:txBody>
          <a:bodyPr numCol="1" spcCol="158400"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6D648AD-495F-432D-AD21-50E78A9C680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77600" y="2156400"/>
            <a:ext cx="34452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F5810D0-9726-42AC-A639-84F281EFF60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73076" y="2156400"/>
            <a:ext cx="34452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1CD652-1F4C-4E6F-8A46-37984BBB5B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09D4BB-7BFB-47DF-B492-59A7588CA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BEAE36-3D20-442F-BAB7-770B77B838C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572801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felt. 2 spalt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color">
            <a:extLst>
              <a:ext uri="{FF2B5EF4-FFF2-40B4-BE49-F238E27FC236}">
                <a16:creationId xmlns:a16="http://schemas.microsoft.com/office/drawing/2014/main" id="{2DC95A30-5B55-4717-A277-B794EAFF52E5}"/>
              </a:ext>
            </a:extLst>
          </p:cNvPr>
          <p:cNvSpPr/>
          <p:nvPr userDrawn="1"/>
        </p:nvSpPr>
        <p:spPr bwMode="auto">
          <a:xfrm>
            <a:off x="522006" y="1903413"/>
            <a:ext cx="11147993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134E2B-56D6-4554-B4FD-76E3FAA6B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D355E79-78E9-4292-B2BA-D55AB0472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3999" y="2156400"/>
            <a:ext cx="10644277" cy="3549600"/>
          </a:xfrm>
        </p:spPr>
        <p:txBody>
          <a:bodyPr numCol="2" spcCol="158400"/>
          <a:lstStyle>
            <a:lvl1pPr>
              <a:defRPr/>
            </a:lvl1pPr>
          </a:lstStyle>
          <a:p>
            <a:pPr lvl="0"/>
            <a:r>
              <a:rPr lang="nb-NO"/>
              <a:t>Klikk for å legge til tekst i to spalter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500A3EA-3C30-4DB3-891E-36CCF09E20A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93C3352-CC7D-4153-8547-2AC2ACC396F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0632C2-0E48-4D72-BD61-70FD483A0B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19401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felt. 3 spalter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ackground color">
            <a:extLst>
              <a:ext uri="{FF2B5EF4-FFF2-40B4-BE49-F238E27FC236}">
                <a16:creationId xmlns:a16="http://schemas.microsoft.com/office/drawing/2014/main" id="{2DC95A30-5B55-4717-A277-B794EAFF52E5}"/>
              </a:ext>
            </a:extLst>
          </p:cNvPr>
          <p:cNvSpPr/>
          <p:nvPr userDrawn="1"/>
        </p:nvSpPr>
        <p:spPr bwMode="auto">
          <a:xfrm>
            <a:off x="522006" y="1903413"/>
            <a:ext cx="11147993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C134E2B-56D6-4554-B4FD-76E3FAA6B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A02DECE-6860-47F7-9AC8-8C95195BB2D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3999" y="2156400"/>
            <a:ext cx="10644277" cy="3549600"/>
          </a:xfrm>
        </p:spPr>
        <p:txBody>
          <a:bodyPr numCol="3" spcCol="158400"/>
          <a:lstStyle>
            <a:lvl1pPr>
              <a:defRPr/>
            </a:lvl1pPr>
          </a:lstStyle>
          <a:p>
            <a:pPr lvl="0"/>
            <a:r>
              <a:rPr lang="nb-NO"/>
              <a:t>Klikk for å legge til tekst i tre spalter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1CD652-1F4C-4E6F-8A46-37984BBB5B3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09D4BB-7BFB-47DF-B492-59A7588CA70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BEAE36-3D20-442F-BAB7-770B77B838C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0149725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11147994" cy="864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04166-EF4C-480A-9FEF-94508D0D3A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C95F0E2-DE24-406A-A63C-3F814581CAF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E1F82B5-D030-4CC5-92C0-E55FB27315D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6469258-AD66-4F68-885B-AFBF7AE72A5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522000" y="1903413"/>
            <a:ext cx="5356800" cy="4046537"/>
          </a:xfrm>
        </p:spPr>
        <p:txBody>
          <a:bodyPr/>
          <a:lstStyle/>
          <a:p>
            <a:pPr lvl="0"/>
            <a:r>
              <a:rPr lang="nb-NO" err="1"/>
              <a:t>Klikk</a:t>
            </a:r>
            <a:r>
              <a:rPr lang="nb-NO"/>
              <a:t> for å </a:t>
            </a:r>
            <a:r>
              <a:rPr lang="nb-NO" err="1"/>
              <a:t>legge</a:t>
            </a:r>
            <a:r>
              <a:rPr lang="nb-NO"/>
              <a:t> </a:t>
            </a:r>
            <a:r>
              <a:rPr lang="nb-NO" err="1"/>
              <a:t>til</a:t>
            </a:r>
            <a:r>
              <a:rPr lang="nb-NO"/>
              <a:t> </a:t>
            </a:r>
            <a:r>
              <a:rPr lang="nb-NO" err="1"/>
              <a:t>tekst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635F8CD3-85D9-46D0-9BE4-8E74806A12B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3200" y="1903413"/>
            <a:ext cx="5356800" cy="4046537"/>
          </a:xfrm>
        </p:spPr>
        <p:txBody>
          <a:bodyPr/>
          <a:lstStyle/>
          <a:p>
            <a:pPr lvl="0"/>
            <a:r>
              <a:rPr lang="nb-NO" err="1"/>
              <a:t>Klikk</a:t>
            </a:r>
            <a:r>
              <a:rPr lang="nb-NO"/>
              <a:t> for å </a:t>
            </a:r>
            <a:r>
              <a:rPr lang="nb-NO" err="1"/>
              <a:t>legge</a:t>
            </a:r>
            <a:r>
              <a:rPr lang="nb-NO"/>
              <a:t> </a:t>
            </a:r>
            <a:r>
              <a:rPr lang="nb-NO" err="1"/>
              <a:t>til</a:t>
            </a:r>
            <a:r>
              <a:rPr lang="nb-NO"/>
              <a:t> </a:t>
            </a:r>
            <a:r>
              <a:rPr lang="nb-NO" err="1"/>
              <a:t>tekst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477522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6" y="1903413"/>
            <a:ext cx="5573993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85165C9-948B-4A7E-8637-2CA8EE0EE7D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4000" y="2156400"/>
            <a:ext cx="5102924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8E10C133-7448-4464-98EB-2451ADFCBBC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3487" y="1903413"/>
            <a:ext cx="5356225" cy="4046537"/>
          </a:xfrm>
        </p:spPr>
        <p:txBody>
          <a:bodyPr/>
          <a:lstStyle>
            <a:lvl1pPr>
              <a:buClr>
                <a:srgbClr val="ED1A3B"/>
              </a:buCl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b-NO" noProof="0"/>
              <a:t>Klikk for å legge til tekst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 noProof="0"/>
              <a:t>6</a:t>
            </a:r>
            <a:endParaRPr lang="nb-NO"/>
          </a:p>
          <a:p>
            <a:pPr lvl="6"/>
            <a:r>
              <a:rPr lang="nb-NO" noProof="0"/>
              <a:t>7</a:t>
            </a:r>
            <a:endParaRPr lang="nb-NO"/>
          </a:p>
          <a:p>
            <a:pPr lvl="7"/>
            <a:r>
              <a:rPr lang="nb-NO" noProof="0"/>
              <a:t>8</a:t>
            </a:r>
            <a:endParaRPr lang="nb-NO"/>
          </a:p>
          <a:p>
            <a:pPr lvl="8"/>
            <a:r>
              <a:rPr lang="nb-NO" noProof="0"/>
              <a:t>9</a:t>
            </a:r>
            <a:endParaRPr lang="nb-NO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04166-EF4C-480A-9FEF-94508D0D3A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C95F0E2-DE24-406A-A63C-3F814581CAF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E1F82B5-D030-4CC5-92C0-E55FB27315D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8667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tekstfelt. (2 innholdsdel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 color">
            <a:extLst>
              <a:ext uri="{FF2B5EF4-FFF2-40B4-BE49-F238E27FC236}">
                <a16:creationId xmlns:a16="http://schemas.microsoft.com/office/drawing/2014/main" id="{C762306F-C499-429F-A4A7-157BD332160B}"/>
              </a:ext>
            </a:extLst>
          </p:cNvPr>
          <p:cNvSpPr/>
          <p:nvPr userDrawn="1"/>
        </p:nvSpPr>
        <p:spPr bwMode="auto">
          <a:xfrm>
            <a:off x="8257894" y="1903413"/>
            <a:ext cx="3411819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5AECD3-5BCF-473C-8BAB-C48DDDF20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522005" y="1903413"/>
            <a:ext cx="7577419" cy="404653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F9A0C6-CB1C-42AC-95C0-38E6B124F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10400" y="2156400"/>
            <a:ext cx="29088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A4117EC-8ECA-410A-A45E-41F84CB5324E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6ED7DB1-3590-4486-B7F2-B810FAA9A61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964601-F0AA-47EC-B2AD-5D68BD48FCF1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3262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4644CBB8-40B8-42F8-9172-07A476341DDA}"/>
              </a:ext>
            </a:extLst>
          </p:cNvPr>
          <p:cNvGrpSpPr/>
          <p:nvPr/>
        </p:nvGrpSpPr>
        <p:grpSpPr>
          <a:xfrm>
            <a:off x="356481" y="879007"/>
            <a:ext cx="734257" cy="760506"/>
            <a:chOff x="5243759" y="1363788"/>
            <a:chExt cx="734257" cy="760506"/>
          </a:xfrm>
        </p:grpSpPr>
        <p:sp>
          <p:nvSpPr>
            <p:cNvPr id="49" name="Freeform 5">
              <a:extLst>
                <a:ext uri="{FF2B5EF4-FFF2-40B4-BE49-F238E27FC236}">
                  <a16:creationId xmlns:a16="http://schemas.microsoft.com/office/drawing/2014/main" id="{35CE073E-302A-4AA7-98C7-8667DDDCFA18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356930" y="1363788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4FD1AE2F-DD70-4E93-B905-E052A23F0B1C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243759" y="1430747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E8D529E5-8838-47F0-98A4-2D46F11E499C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508097" y="1586019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accent1">
                  <a:lumMod val="60000"/>
                  <a:lumOff val="40000"/>
                  <a:alpha val="6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5DA2564-D3DB-48AD-83F0-6CC6B5743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3563" y="474345"/>
            <a:ext cx="11077574" cy="2954655"/>
          </a:xfrm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64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03DDF-462A-45CE-931B-010AB4F73C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809929-0719-4517-94D6-FDF7F99E70F6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E10702-2ACF-4768-9E91-8CB87B8959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DFA722-391E-4FCF-8E15-0D7E2EC02B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EEA752-36DA-440B-8747-0EB2914080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271" y="3629772"/>
            <a:ext cx="11074866" cy="2678953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2400">
                <a:solidFill>
                  <a:schemeClr val="tx1">
                    <a:alpha val="8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0BCC02B0-8581-4752-B7BC-3CE1EF17B9F7}"/>
              </a:ext>
            </a:extLst>
          </p:cNvPr>
          <p:cNvSpPr>
            <a:spLocks noChangeAspect="1"/>
          </p:cNvSpPr>
          <p:nvPr/>
        </p:nvSpPr>
        <p:spPr>
          <a:xfrm rot="18900000">
            <a:off x="11209132" y="4448189"/>
            <a:ext cx="999200" cy="1262947"/>
          </a:xfrm>
          <a:custGeom>
            <a:avLst/>
            <a:gdLst>
              <a:gd name="connsiteX0" fmla="*/ 540000 w 999200"/>
              <a:gd name="connsiteY0" fmla="*/ 0 h 1262947"/>
              <a:gd name="connsiteX1" fmla="*/ 999200 w 999200"/>
              <a:gd name="connsiteY1" fmla="*/ 815317 h 1262947"/>
              <a:gd name="connsiteX2" fmla="*/ 552185 w 999200"/>
              <a:gd name="connsiteY2" fmla="*/ 1262333 h 1262947"/>
              <a:gd name="connsiteX3" fmla="*/ 540000 w 999200"/>
              <a:gd name="connsiteY3" fmla="*/ 1262947 h 1262947"/>
              <a:gd name="connsiteX4" fmla="*/ 0 w 999200"/>
              <a:gd name="connsiteY4" fmla="*/ 992947 h 1262947"/>
              <a:gd name="connsiteX5" fmla="*/ 10971 w 999200"/>
              <a:gd name="connsiteY5" fmla="*/ 938533 h 1262947"/>
              <a:gd name="connsiteX6" fmla="*/ 15626 w 999200"/>
              <a:gd name="connsiteY6" fmla="*/ 931034 h 12629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9200" h="1262947">
                <a:moveTo>
                  <a:pt x="540000" y="0"/>
                </a:moveTo>
                <a:lnTo>
                  <a:pt x="999200" y="815317"/>
                </a:lnTo>
                <a:lnTo>
                  <a:pt x="552185" y="1262333"/>
                </a:lnTo>
                <a:lnTo>
                  <a:pt x="540000" y="1262947"/>
                </a:lnTo>
                <a:cubicBezTo>
                  <a:pt x="241766" y="1262947"/>
                  <a:pt x="0" y="1142064"/>
                  <a:pt x="0" y="992947"/>
                </a:cubicBezTo>
                <a:cubicBezTo>
                  <a:pt x="0" y="974307"/>
                  <a:pt x="3778" y="956109"/>
                  <a:pt x="10971" y="938533"/>
                </a:cubicBezTo>
                <a:lnTo>
                  <a:pt x="15626" y="931034"/>
                </a:lnTo>
                <a:close/>
              </a:path>
            </a:pathLst>
          </a:custGeom>
          <a:gradFill>
            <a:gsLst>
              <a:gs pos="60000">
                <a:schemeClr val="bg2">
                  <a:lumMod val="90000"/>
                  <a:lumOff val="10000"/>
                </a:schemeClr>
              </a:gs>
              <a:gs pos="30000">
                <a:schemeClr val="bg2">
                  <a:lumMod val="90000"/>
                  <a:lumOff val="10000"/>
                </a:schemeClr>
              </a:gs>
              <a:gs pos="40000">
                <a:schemeClr val="bg2">
                  <a:lumMod val="75000"/>
                  <a:lumOff val="25000"/>
                </a:schemeClr>
              </a:gs>
              <a:gs pos="100000">
                <a:schemeClr val="bg2"/>
              </a:gs>
            </a:gsLst>
            <a:lin ang="10200000" scaled="0"/>
          </a:gradFill>
          <a:ln>
            <a:noFill/>
          </a:ln>
          <a:effectLst>
            <a:innerShdw blurRad="254000" dist="101600" dir="4200000">
              <a:schemeClr val="accent1">
                <a:lumMod val="60000"/>
                <a:lumOff val="40000"/>
                <a:alpha val="4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EA0FF4DB-8180-4D26-AEAE-7ECDB670F71D}"/>
              </a:ext>
            </a:extLst>
          </p:cNvPr>
          <p:cNvSpPr/>
          <p:nvPr/>
        </p:nvSpPr>
        <p:spPr>
          <a:xfrm rot="2700000">
            <a:off x="11686937" y="4853516"/>
            <a:ext cx="540000" cy="978284"/>
          </a:xfrm>
          <a:custGeom>
            <a:avLst/>
            <a:gdLst>
              <a:gd name="connsiteX0" fmla="*/ 113288 w 540000"/>
              <a:gd name="connsiteY0" fmla="*/ 0 h 978284"/>
              <a:gd name="connsiteX1" fmla="*/ 539386 w 540000"/>
              <a:gd name="connsiteY1" fmla="*/ 426099 h 978284"/>
              <a:gd name="connsiteX2" fmla="*/ 540000 w 540000"/>
              <a:gd name="connsiteY2" fmla="*/ 438284 h 978284"/>
              <a:gd name="connsiteX3" fmla="*/ 270000 w 540000"/>
              <a:gd name="connsiteY3" fmla="*/ 978284 h 978284"/>
              <a:gd name="connsiteX4" fmla="*/ 0 w 540000"/>
              <a:gd name="connsiteY4" fmla="*/ 438284 h 978284"/>
              <a:gd name="connsiteX5" fmla="*/ 79081 w 540000"/>
              <a:gd name="connsiteY5" fmla="*/ 56446 h 9782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40000" h="978284">
                <a:moveTo>
                  <a:pt x="113288" y="0"/>
                </a:moveTo>
                <a:lnTo>
                  <a:pt x="539386" y="426099"/>
                </a:lnTo>
                <a:lnTo>
                  <a:pt x="540000" y="438284"/>
                </a:lnTo>
                <a:cubicBezTo>
                  <a:pt x="540000" y="736518"/>
                  <a:pt x="419117" y="978284"/>
                  <a:pt x="270000" y="978284"/>
                </a:cubicBezTo>
                <a:cubicBezTo>
                  <a:pt x="120883" y="978284"/>
                  <a:pt x="0" y="736518"/>
                  <a:pt x="0" y="438284"/>
                </a:cubicBezTo>
                <a:cubicBezTo>
                  <a:pt x="0" y="289167"/>
                  <a:pt x="30220" y="154167"/>
                  <a:pt x="79081" y="56446"/>
                </a:cubicBezTo>
                <a:close/>
              </a:path>
            </a:pathLst>
          </a:custGeom>
          <a:solidFill>
            <a:schemeClr val="bg2">
              <a:lumMod val="90000"/>
              <a:lumOff val="10000"/>
            </a:schemeClr>
          </a:soli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3890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Rundt bilde 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5354919" cy="864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522006" y="1903413"/>
            <a:ext cx="5354919" cy="4046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479245" y="773113"/>
            <a:ext cx="5176800" cy="5176839"/>
          </a:xfrm>
          <a:prstGeom prst="ellipse">
            <a:avLst/>
          </a:prstGeom>
          <a:noFill/>
        </p:spPr>
        <p:txBody>
          <a:bodyPr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EB90B3-CB43-43D1-A8E4-DDFD53211A2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15CB92-9524-4314-9F17-F0E3B85322CA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D8BA60-BD5C-45E4-9065-C000A2227C0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638146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Bilde H (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522006" y="1903413"/>
            <a:ext cx="5354919" cy="4046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315077" y="1903412"/>
            <a:ext cx="5354923" cy="404654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386DDA-2BC1-46E3-A51E-E170EDCD7D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824FC1-84A2-42BA-83F4-2625A63307F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14AF83-F7D1-46CC-9AEE-94E700CEDDE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40602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Bilde H (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6" y="1903413"/>
            <a:ext cx="7581270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42190F8-2369-4A28-B567-F51548578C8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4000" y="2156400"/>
            <a:ext cx="70488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8176" y="1911349"/>
            <a:ext cx="3411823" cy="4038601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7F0B7E-BE4A-44DD-BBC0-E11A85549869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A258A2-7EED-41F3-A2BA-E3AD4CD17723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A6D6727-D6BE-4169-AFD5-A95179371C9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558757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Bilde H (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6" y="1903413"/>
            <a:ext cx="3411819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4A5D24A-692B-4CEC-9153-65902EF0CD5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4000" y="2156400"/>
            <a:ext cx="2907831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090988" y="1911349"/>
            <a:ext cx="7579011" cy="4038601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F010C-047B-44E8-8DAE-473702520C5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1965DE-B8FF-4755-A7F8-44AD161DD53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1B0391C-C917-4A71-93B9-EB7E4DBAA81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26180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Bilde V (66%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04112" y="1315244"/>
            <a:ext cx="4165887" cy="1764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, maks. 4 linjer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7504112" y="3326004"/>
            <a:ext cx="4165887" cy="262394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341000"/>
            <a:ext cx="6908801" cy="41760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66AFE4-C85A-4CDC-AD0A-C61B32FE641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31717B-CF60-438E-8C00-A9F2B7169B7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24F87C-570E-42E5-9D71-FB3271A012B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03876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Bilde V (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8257894" y="1903413"/>
            <a:ext cx="3411819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5211158-9599-468D-9C2F-4B76A602AAD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09887" y="2156400"/>
            <a:ext cx="2907831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520414" y="1911349"/>
            <a:ext cx="7579011" cy="4038601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66AFE4-C85A-4CDC-AD0A-C61B32FE6418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531717B-CF60-438E-8C00-A9F2B7169B7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24F87C-570E-42E5-9D71-FB3271A012B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514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g tekst. Bilde (66%)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4442107" cy="864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22007" y="1903413"/>
            <a:ext cx="4442106" cy="4046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5122863" y="0"/>
            <a:ext cx="7069137" cy="6858000"/>
          </a:xfrm>
          <a:prstGeom prst="rect">
            <a:avLst/>
          </a:prstGeom>
          <a:noFill/>
        </p:spPr>
        <p:txBody>
          <a:bodyPr tIns="756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386DDA-2BC1-46E3-A51E-E170EDCD7D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824FC1-84A2-42BA-83F4-2625A63307F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14AF83-F7D1-46CC-9AEE-94E700CEDDE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7DAF877D-128E-4BB1-9BE1-DFDCA5087C7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FD5DEA2-19ED-4421-A0D4-9FE502F90D2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81DDFD8-C53C-4653-81D9-3C44FFA356A1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</p:spTree>
    <p:extLst>
      <p:ext uri="{BB962C8B-B14F-4D97-AF65-F5344CB8AC3E}">
        <p14:creationId xmlns:p14="http://schemas.microsoft.com/office/powerpoint/2010/main" val="4180857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7">
          <p15:clr>
            <a:srgbClr val="F26B43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g tekst Bilde (66%) B">
    <p:bg bwMode="lt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D51174-5988-47F1-AB1D-48057F677734}"/>
              </a:ext>
            </a:extLst>
          </p:cNvPr>
          <p:cNvSpPr/>
          <p:nvPr userDrawn="1"/>
        </p:nvSpPr>
        <p:spPr bwMode="auto">
          <a:xfrm>
            <a:off x="5122862" y="0"/>
            <a:ext cx="7069136" cy="685799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FD5DEA2-19ED-4421-A0D4-9FE502F90D2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81DDFD8-C53C-4653-81D9-3C44FFA356A1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4442107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22007" y="1903413"/>
            <a:ext cx="4442106" cy="4046538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  <a:p>
            <a:pPr lvl="8"/>
            <a:endParaRPr lang="nb-NO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5122863" y="0"/>
            <a:ext cx="7069137" cy="6858000"/>
          </a:xfrm>
          <a:prstGeom prst="rect">
            <a:avLst/>
          </a:prstGeom>
          <a:noFill/>
        </p:spPr>
        <p:txBody>
          <a:bodyPr tIns="756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386DDA-2BC1-46E3-A51E-E170EDCD7D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824FC1-84A2-42BA-83F4-2625A63307F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14AF83-F7D1-46CC-9AEE-94E700CEDDE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7" name="Logo firm TP">
            <a:extLst>
              <a:ext uri="{FF2B5EF4-FFF2-40B4-BE49-F238E27FC236}">
                <a16:creationId xmlns:a16="http://schemas.microsoft.com/office/drawing/2014/main" id="{9DA0DF5C-0B20-481B-B41B-C03F4B10914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F69F244-4039-49CF-A7A1-26A928B95AC6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62887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7">
          <p15:clr>
            <a:srgbClr val="F26B43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g tekst. Bilde (50%)">
    <p:bg bwMode="lt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E1D51174-5988-47F1-AB1D-48057F677734}"/>
              </a:ext>
            </a:extLst>
          </p:cNvPr>
          <p:cNvSpPr/>
          <p:nvPr userDrawn="1"/>
        </p:nvSpPr>
        <p:spPr bwMode="auto">
          <a:xfrm>
            <a:off x="6094800" y="0"/>
            <a:ext cx="6094800" cy="685799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FD5DEA2-19ED-4421-A0D4-9FE502F90D2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81DDFD8-C53C-4653-81D9-3C44FFA356A1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0"/>
            <a:ext cx="6094800" cy="6858000"/>
          </a:xfrm>
          <a:prstGeom prst="rect">
            <a:avLst/>
          </a:prstGeom>
          <a:noFill/>
        </p:spPr>
        <p:txBody>
          <a:bodyPr tIns="756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5051942" cy="17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, maks. 4 linjer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22007" y="2768400"/>
            <a:ext cx="5051942" cy="318155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386DDA-2BC1-46E3-A51E-E170EDCD7D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824FC1-84A2-42BA-83F4-2625A63307F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14AF83-F7D1-46CC-9AEE-94E700CEDDE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7" name="Logo firm TP">
            <a:extLst>
              <a:ext uri="{FF2B5EF4-FFF2-40B4-BE49-F238E27FC236}">
                <a16:creationId xmlns:a16="http://schemas.microsoft.com/office/drawing/2014/main" id="{729578C4-0D91-4AD6-8675-CDEB403F67D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95A2F8F-BDE2-42EF-BF3E-A736DD2DEC83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51647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7">
          <p15:clr>
            <a:srgbClr val="F26B43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g tekst. Rundt bil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4442107" cy="864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sz="quarter" idx="20" hasCustomPrompt="1"/>
          </p:nvPr>
        </p:nvSpPr>
        <p:spPr>
          <a:xfrm>
            <a:off x="522007" y="1903413"/>
            <a:ext cx="4442106" cy="4046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386DDA-2BC1-46E3-A51E-E170EDCD7D8F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824FC1-84A2-42BA-83F4-2625A63307F5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14AF83-F7D1-46CC-9AEE-94E700CEDDE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FD5DEA2-19ED-4421-A0D4-9FE502F90D2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81DDFD8-C53C-4653-81D9-3C44FFA356A1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pic>
        <p:nvPicPr>
          <p:cNvPr id="21" name="Picture 20" descr="A picture containing chart&#10;&#10;Description automatically generated" hidden="1">
            <a:extLst>
              <a:ext uri="{FF2B5EF4-FFF2-40B4-BE49-F238E27FC236}">
                <a16:creationId xmlns:a16="http://schemas.microsoft.com/office/drawing/2014/main" id="{8C7AD4A6-0977-4A97-9AB1-B6862111BB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46" y="-5802"/>
            <a:ext cx="12181703" cy="6863802"/>
          </a:xfrm>
          <a:prstGeom prst="rect">
            <a:avLst/>
          </a:prstGeom>
        </p:spPr>
      </p:pic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1331697D-BB25-4D5D-B8E6-0A0D6507477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2863" y="0"/>
            <a:ext cx="7069137" cy="6858000"/>
          </a:xfrm>
          <a:custGeom>
            <a:avLst/>
            <a:gdLst>
              <a:gd name="connsiteX0" fmla="*/ 1634737 w 7069137"/>
              <a:gd name="connsiteY0" fmla="*/ 0 h 6858000"/>
              <a:gd name="connsiteX1" fmla="*/ 7069137 w 7069137"/>
              <a:gd name="connsiteY1" fmla="*/ 0 h 6858000"/>
              <a:gd name="connsiteX2" fmla="*/ 7069137 w 7069137"/>
              <a:gd name="connsiteY2" fmla="*/ 6858000 h 6858000"/>
              <a:gd name="connsiteX3" fmla="*/ 1634735 w 7069137"/>
              <a:gd name="connsiteY3" fmla="*/ 6858000 h 6858000"/>
              <a:gd name="connsiteX4" fmla="*/ 1606625 w 7069137"/>
              <a:gd name="connsiteY4" fmla="*/ 6835910 h 6858000"/>
              <a:gd name="connsiteX5" fmla="*/ 5682 w 7069137"/>
              <a:gd name="connsiteY5" fmla="*/ 3656202 h 6858000"/>
              <a:gd name="connsiteX6" fmla="*/ 0 w 7069137"/>
              <a:gd name="connsiteY6" fmla="*/ 3431494 h 6858000"/>
              <a:gd name="connsiteX7" fmla="*/ 0 w 7069137"/>
              <a:gd name="connsiteY7" fmla="*/ 3426508 h 6858000"/>
              <a:gd name="connsiteX8" fmla="*/ 5682 w 7069137"/>
              <a:gd name="connsiteY8" fmla="*/ 3201800 h 6858000"/>
              <a:gd name="connsiteX9" fmla="*/ 1606625 w 7069137"/>
              <a:gd name="connsiteY9" fmla="*/ 2209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069137" h="6858000">
                <a:moveTo>
                  <a:pt x="1634737" y="0"/>
                </a:moveTo>
                <a:lnTo>
                  <a:pt x="7069137" y="0"/>
                </a:lnTo>
                <a:lnTo>
                  <a:pt x="7069137" y="6858000"/>
                </a:lnTo>
                <a:lnTo>
                  <a:pt x="1634735" y="6858000"/>
                </a:lnTo>
                <a:lnTo>
                  <a:pt x="1606625" y="6835910"/>
                </a:lnTo>
                <a:cubicBezTo>
                  <a:pt x="679894" y="6071104"/>
                  <a:pt x="70529" y="4935484"/>
                  <a:pt x="5682" y="3656202"/>
                </a:cubicBezTo>
                <a:lnTo>
                  <a:pt x="0" y="3431494"/>
                </a:lnTo>
                <a:lnTo>
                  <a:pt x="0" y="3426508"/>
                </a:lnTo>
                <a:lnTo>
                  <a:pt x="5682" y="3201800"/>
                </a:lnTo>
                <a:cubicBezTo>
                  <a:pt x="70529" y="1922518"/>
                  <a:pt x="679894" y="786898"/>
                  <a:pt x="1606625" y="22092"/>
                </a:cubicBezTo>
                <a:close/>
              </a:path>
            </a:pathLst>
          </a:custGeom>
          <a:noFill/>
        </p:spPr>
        <p:txBody>
          <a:bodyPr wrap="square" lIns="936000" tIns="756000" bIns="648000" anchor="t" anchorCtr="0">
            <a:noAutofit/>
          </a:bodyPr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pic>
        <p:nvPicPr>
          <p:cNvPr id="26" name="Picture 25" hidden="1">
            <a:extLst>
              <a:ext uri="{FF2B5EF4-FFF2-40B4-BE49-F238E27FC236}">
                <a16:creationId xmlns:a16="http://schemas.microsoft.com/office/drawing/2014/main" id="{081F4DC7-A852-4E51-8596-3FA2666994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-1" y="-1"/>
            <a:ext cx="12193200" cy="6870280"/>
          </a:xfrm>
          <a:prstGeom prst="rect">
            <a:avLst/>
          </a:prstGeom>
        </p:spPr>
      </p:pic>
      <p:pic>
        <p:nvPicPr>
          <p:cNvPr id="28" name="Picture 27" hidden="1">
            <a:extLst>
              <a:ext uri="{FF2B5EF4-FFF2-40B4-BE49-F238E27FC236}">
                <a16:creationId xmlns:a16="http://schemas.microsoft.com/office/drawing/2014/main" id="{CB1BA3D5-C134-4E1F-BABD-7070BDF3CA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</a:blip>
          <a:stretch>
            <a:fillRect/>
          </a:stretch>
        </p:blipFill>
        <p:spPr>
          <a:xfrm>
            <a:off x="833717" y="-1138113"/>
            <a:ext cx="13770269" cy="9125665"/>
          </a:xfrm>
          <a:prstGeom prst="rect">
            <a:avLst/>
          </a:prstGeom>
        </p:spPr>
      </p:pic>
      <p:sp>
        <p:nvSpPr>
          <p:cNvPr id="17" name="Logo firm TP">
            <a:extLst>
              <a:ext uri="{FF2B5EF4-FFF2-40B4-BE49-F238E27FC236}">
                <a16:creationId xmlns:a16="http://schemas.microsoft.com/office/drawing/2014/main" id="{57EDFA3F-E572-4642-968B-3AFC063B80B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384" y="6308395"/>
            <a:ext cx="848992" cy="326093"/>
          </a:xfrm>
          <a:blipFill>
            <a:blip r:embed="rId4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89249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7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94729CA3-91C4-4A89-9448-A2F0E409177A}"/>
              </a:ext>
            </a:extLst>
          </p:cNvPr>
          <p:cNvSpPr>
            <a:spLocks noChangeAspect="1"/>
          </p:cNvSpPr>
          <p:nvPr/>
        </p:nvSpPr>
        <p:spPr>
          <a:xfrm>
            <a:off x="11069864" y="333375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68347B7-45FA-4A01-924D-DC385B720B3E}"/>
              </a:ext>
            </a:extLst>
          </p:cNvPr>
          <p:cNvGrpSpPr/>
          <p:nvPr/>
        </p:nvGrpSpPr>
        <p:grpSpPr>
          <a:xfrm>
            <a:off x="331786" y="5528198"/>
            <a:ext cx="631474" cy="667800"/>
            <a:chOff x="2994153" y="1378666"/>
            <a:chExt cx="631474" cy="66780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31167DA1-25D1-4E60-A62E-42B6F56A96E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3039890" y="1332929"/>
              <a:ext cx="540000" cy="631474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2700000">
                <a:schemeClr val="accent1">
                  <a:lumMod val="60000"/>
                  <a:lumOff val="40000"/>
                  <a:alpha val="2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B7B7215-A661-477E-91D0-CDBE5564D2B9}"/>
                </a:ext>
              </a:extLst>
            </p:cNvPr>
            <p:cNvSpPr/>
            <p:nvPr/>
          </p:nvSpPr>
          <p:spPr>
            <a:xfrm rot="8100000">
              <a:off x="3047090" y="1506466"/>
              <a:ext cx="270000" cy="540000"/>
            </a:xfrm>
            <a:prstGeom prst="ellipse">
              <a:avLst/>
            </a:prstGeom>
            <a:gradFill>
              <a:gsLst>
                <a:gs pos="100000">
                  <a:schemeClr val="bg2">
                    <a:lumMod val="90000"/>
                    <a:lumOff val="10000"/>
                  </a:schemeClr>
                </a:gs>
                <a:gs pos="50000">
                  <a:schemeClr val="bg2">
                    <a:lumMod val="95000"/>
                    <a:lumOff val="5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8978E540-142B-4A82-9C3F-E61BC190A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090274" cy="13320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C6BF36-D4F5-4363-B440-BDAE50BBD4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0862" y="2097175"/>
            <a:ext cx="5435600" cy="3995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8362910-87AA-4E67-992D-8D4822FD89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5538" y="2097175"/>
            <a:ext cx="5435600" cy="39956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B99A8AF-0998-4613-B1D8-C14ECBFFDF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95673-5512-4AAA-9AEB-E00C61EC65D5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E44EAA-B8A9-4428-A9DF-1174DA9409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E5C381-C899-4BF9-B584-2D78074D1C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643958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g tekst. Rundt bilde B">
    <p:bg bwMode="lt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White background">
            <a:extLst>
              <a:ext uri="{FF2B5EF4-FFF2-40B4-BE49-F238E27FC236}">
                <a16:creationId xmlns:a16="http://schemas.microsoft.com/office/drawing/2014/main" id="{FFBC5EC5-ACA6-4EF4-8475-89FBE5855379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5137200" y="0"/>
            <a:ext cx="7056000" cy="6858000"/>
          </a:xfrm>
          <a:custGeom>
            <a:avLst/>
            <a:gdLst>
              <a:gd name="connsiteX0" fmla="*/ 1637954 w 7056000"/>
              <a:gd name="connsiteY0" fmla="*/ 0 h 6858000"/>
              <a:gd name="connsiteX1" fmla="*/ 7056000 w 7056000"/>
              <a:gd name="connsiteY1" fmla="*/ 0 h 6858000"/>
              <a:gd name="connsiteX2" fmla="*/ 7056000 w 7056000"/>
              <a:gd name="connsiteY2" fmla="*/ 6858000 h 6858000"/>
              <a:gd name="connsiteX3" fmla="*/ 1637954 w 7056000"/>
              <a:gd name="connsiteY3" fmla="*/ 6858000 h 6858000"/>
              <a:gd name="connsiteX4" fmla="*/ 1604831 w 7056000"/>
              <a:gd name="connsiteY4" fmla="*/ 6831971 h 6858000"/>
              <a:gd name="connsiteX5" fmla="*/ 0 w 7056000"/>
              <a:gd name="connsiteY5" fmla="*/ 3429000 h 6858000"/>
              <a:gd name="connsiteX6" fmla="*/ 1604831 w 7056000"/>
              <a:gd name="connsiteY6" fmla="*/ 2603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56000" h="6858000">
                <a:moveTo>
                  <a:pt x="1637954" y="0"/>
                </a:moveTo>
                <a:lnTo>
                  <a:pt x="7056000" y="0"/>
                </a:lnTo>
                <a:lnTo>
                  <a:pt x="7056000" y="6858000"/>
                </a:lnTo>
                <a:lnTo>
                  <a:pt x="1637954" y="6858000"/>
                </a:lnTo>
                <a:lnTo>
                  <a:pt x="1604831" y="6831971"/>
                </a:lnTo>
                <a:cubicBezTo>
                  <a:pt x="624720" y="6023112"/>
                  <a:pt x="0" y="4799012"/>
                  <a:pt x="0" y="3429000"/>
                </a:cubicBezTo>
                <a:cubicBezTo>
                  <a:pt x="0" y="2058989"/>
                  <a:pt x="624720" y="834888"/>
                  <a:pt x="1604831" y="26030"/>
                </a:cubicBezTo>
                <a:close/>
              </a:path>
            </a:pathLst>
          </a:custGeom>
          <a:solidFill>
            <a:schemeClr val="bg1"/>
          </a:solidFill>
          <a:ln w="9525" cap="flat" cmpd="sng" algn="ctr">
            <a:solidFill>
              <a:schemeClr val="accent4"/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1331697D-BB25-4D5D-B8E6-0A0D6507477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2863" y="0"/>
            <a:ext cx="7069137" cy="6858000"/>
          </a:xfrm>
          <a:custGeom>
            <a:avLst/>
            <a:gdLst>
              <a:gd name="connsiteX0" fmla="*/ 1634737 w 7069137"/>
              <a:gd name="connsiteY0" fmla="*/ 0 h 6858000"/>
              <a:gd name="connsiteX1" fmla="*/ 7069137 w 7069137"/>
              <a:gd name="connsiteY1" fmla="*/ 0 h 6858000"/>
              <a:gd name="connsiteX2" fmla="*/ 7069137 w 7069137"/>
              <a:gd name="connsiteY2" fmla="*/ 6858000 h 6858000"/>
              <a:gd name="connsiteX3" fmla="*/ 1634735 w 7069137"/>
              <a:gd name="connsiteY3" fmla="*/ 6858000 h 6858000"/>
              <a:gd name="connsiteX4" fmla="*/ 1606625 w 7069137"/>
              <a:gd name="connsiteY4" fmla="*/ 6835910 h 6858000"/>
              <a:gd name="connsiteX5" fmla="*/ 5682 w 7069137"/>
              <a:gd name="connsiteY5" fmla="*/ 3656202 h 6858000"/>
              <a:gd name="connsiteX6" fmla="*/ 0 w 7069137"/>
              <a:gd name="connsiteY6" fmla="*/ 3431494 h 6858000"/>
              <a:gd name="connsiteX7" fmla="*/ 0 w 7069137"/>
              <a:gd name="connsiteY7" fmla="*/ 3426508 h 6858000"/>
              <a:gd name="connsiteX8" fmla="*/ 5682 w 7069137"/>
              <a:gd name="connsiteY8" fmla="*/ 3201800 h 6858000"/>
              <a:gd name="connsiteX9" fmla="*/ 1606625 w 7069137"/>
              <a:gd name="connsiteY9" fmla="*/ 2209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069137" h="6858000">
                <a:moveTo>
                  <a:pt x="1634737" y="0"/>
                </a:moveTo>
                <a:lnTo>
                  <a:pt x="7069137" y="0"/>
                </a:lnTo>
                <a:lnTo>
                  <a:pt x="7069137" y="6858000"/>
                </a:lnTo>
                <a:lnTo>
                  <a:pt x="1634735" y="6858000"/>
                </a:lnTo>
                <a:lnTo>
                  <a:pt x="1606625" y="6835910"/>
                </a:lnTo>
                <a:cubicBezTo>
                  <a:pt x="679894" y="6071104"/>
                  <a:pt x="70529" y="4935484"/>
                  <a:pt x="5682" y="3656202"/>
                </a:cubicBezTo>
                <a:lnTo>
                  <a:pt x="0" y="3431494"/>
                </a:lnTo>
                <a:lnTo>
                  <a:pt x="0" y="3426508"/>
                </a:lnTo>
                <a:lnTo>
                  <a:pt x="5682" y="3201800"/>
                </a:lnTo>
                <a:cubicBezTo>
                  <a:pt x="70529" y="1922518"/>
                  <a:pt x="679894" y="786898"/>
                  <a:pt x="1606625" y="22092"/>
                </a:cubicBezTo>
                <a:close/>
              </a:path>
            </a:pathLst>
          </a:custGeom>
          <a:noFill/>
        </p:spPr>
        <p:txBody>
          <a:bodyPr wrap="square" lIns="936000" tIns="756000" bIns="648000" anchor="t" anchorCtr="0">
            <a:noAutofit/>
          </a:bodyPr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314E4E5-E2D0-408C-9AE4-E52AB79561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4442107" cy="8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65FD279F-47E4-4BD9-A201-C31ECD06F7E5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22007" y="1903413"/>
            <a:ext cx="4442106" cy="4046538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9B55C10-173C-420D-AFC4-94C3F72AE22B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FBAD9968-86D4-4573-B5EF-BB52043BD76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4" name="Logo firm TP">
            <a:extLst>
              <a:ext uri="{FF2B5EF4-FFF2-40B4-BE49-F238E27FC236}">
                <a16:creationId xmlns:a16="http://schemas.microsoft.com/office/drawing/2014/main" id="{04E8D863-E05C-404E-A706-2F25382278B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26BC67-2914-4251-B807-426E8EE41040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05F95B3-A9CC-4DDD-A705-F14D058043E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2A53DB-87DB-4097-B98B-611A6B092CFE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34FD2F-39D0-48D0-B103-D7E5B25B19F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565375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27">
          <p15:clr>
            <a:srgbClr val="F26B43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bild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520700" y="1903413"/>
            <a:ext cx="11149300" cy="404653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 bIns="648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D57D125-520A-4C54-AEF4-E09377F791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2784189-0091-4951-9830-22D90EA43D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Footer Placeholder 6" hidden="1">
            <a:extLst>
              <a:ext uri="{FF2B5EF4-FFF2-40B4-BE49-F238E27FC236}">
                <a16:creationId xmlns:a16="http://schemas.microsoft.com/office/drawing/2014/main" id="{6D49E1D5-C4B5-4DBE-984A-FA87BE84F6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0A5DB2-418B-4E60-BC31-2D791DD2137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851758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g bild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903413"/>
            <a:ext cx="12192000" cy="49545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72000" rIns="0" bIns="648000" anchor="t" anchorCtr="0"/>
          <a:lstStyle>
            <a:lvl1pPr marL="0" indent="0" algn="ctr">
              <a:buNone/>
              <a:defRPr sz="160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D57D125-520A-4C54-AEF4-E09377F791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784189-0091-4951-9830-22D90EA43D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49E1D5-C4B5-4DBE-984A-FA87BE84F6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0A5DB2-418B-4E60-BC31-2D791DD2137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ext Placeholder 22">
            <a:extLst>
              <a:ext uri="{FF2B5EF4-FFF2-40B4-BE49-F238E27FC236}">
                <a16:creationId xmlns:a16="http://schemas.microsoft.com/office/drawing/2014/main" id="{A48CD9B1-C546-4BE1-84A8-91457C410E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8400" y="6293236"/>
            <a:ext cx="169200" cy="564762"/>
          </a:xfrm>
          <a:custGeom>
            <a:avLst/>
            <a:gdLst>
              <a:gd name="connsiteX0" fmla="*/ 169200 w 169200"/>
              <a:gd name="connsiteY0" fmla="*/ 0 h 564762"/>
              <a:gd name="connsiteX1" fmla="*/ 169200 w 169200"/>
              <a:gd name="connsiteY1" fmla="*/ 564762 h 564762"/>
              <a:gd name="connsiteX2" fmla="*/ 0 w 169200"/>
              <a:gd name="connsiteY2" fmla="*/ 564762 h 564762"/>
              <a:gd name="connsiteX3" fmla="*/ 0 w 169200"/>
              <a:gd name="connsiteY3" fmla="*/ 119974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169200" y="0"/>
                </a:moveTo>
                <a:lnTo>
                  <a:pt x="169200" y="564762"/>
                </a:lnTo>
                <a:lnTo>
                  <a:pt x="0" y="564762"/>
                </a:lnTo>
                <a:lnTo>
                  <a:pt x="0" y="119974"/>
                </a:lnTo>
                <a:close/>
              </a:path>
            </a:pathLst>
          </a:custGeom>
          <a:solidFill>
            <a:srgbClr val="ED1A3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D2F675F-E920-4C02-BBDA-C4AC4170D46A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4" name="Logo firm TP">
            <a:extLst>
              <a:ext uri="{FF2B5EF4-FFF2-40B4-BE49-F238E27FC236}">
                <a16:creationId xmlns:a16="http://schemas.microsoft.com/office/drawing/2014/main" id="{C4192C4C-259F-4B94-9FF7-033F3EA15F0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914466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tekst, bilde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2256817"/>
            <a:ext cx="12192000" cy="46011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522000" tIns="72000" rIns="6840000" bIns="0" anchor="t" anchorCtr="0"/>
          <a:lstStyle>
            <a:lvl1pPr marL="0" indent="0" algn="l">
              <a:buNone/>
              <a:defRPr sz="1600"/>
            </a:lvl1pPr>
          </a:lstStyle>
          <a:p>
            <a:r>
              <a:rPr lang="nb-NO"/>
              <a:t>Klikk på plassholderen og sett inn bakgrunnsbilde via BrandMaster </a:t>
            </a:r>
          </a:p>
        </p:txBody>
      </p:sp>
      <p:sp>
        <p:nvSpPr>
          <p:cNvPr id="8" name="Marker bottom TP22">
            <a:extLst>
              <a:ext uri="{FF2B5EF4-FFF2-40B4-BE49-F238E27FC236}">
                <a16:creationId xmlns:a16="http://schemas.microsoft.com/office/drawing/2014/main" id="{A48CD9B1-C546-4BE1-84A8-91457C410E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8400" y="6293236"/>
            <a:ext cx="169200" cy="564762"/>
          </a:xfrm>
          <a:custGeom>
            <a:avLst/>
            <a:gdLst>
              <a:gd name="connsiteX0" fmla="*/ 169200 w 169200"/>
              <a:gd name="connsiteY0" fmla="*/ 0 h 564762"/>
              <a:gd name="connsiteX1" fmla="*/ 169200 w 169200"/>
              <a:gd name="connsiteY1" fmla="*/ 564762 h 564762"/>
              <a:gd name="connsiteX2" fmla="*/ 0 w 169200"/>
              <a:gd name="connsiteY2" fmla="*/ 564762 h 564762"/>
              <a:gd name="connsiteX3" fmla="*/ 0 w 169200"/>
              <a:gd name="connsiteY3" fmla="*/ 119974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169200" y="0"/>
                </a:moveTo>
                <a:lnTo>
                  <a:pt x="169200" y="564762"/>
                </a:lnTo>
                <a:lnTo>
                  <a:pt x="0" y="564762"/>
                </a:lnTo>
                <a:lnTo>
                  <a:pt x="0" y="119974"/>
                </a:lnTo>
                <a:close/>
              </a:path>
            </a:pathLst>
          </a:custGeom>
          <a:solidFill>
            <a:srgbClr val="ED1A3B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6D58EEA-CB8D-4697-9194-FFC0A08E15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/>
              <a:t>Klikk for å legge til en titt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AA5B04B-1FA5-4675-B8A5-B51BD240402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281613" y="2245214"/>
            <a:ext cx="6910387" cy="4618660"/>
          </a:xfrm>
          <a:solidFill>
            <a:schemeClr val="tx2">
              <a:alpha val="60000"/>
            </a:schemeClr>
          </a:solidFill>
        </p:spPr>
        <p:txBody>
          <a:bodyPr lIns="522000" tIns="511200" rIns="522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14" name="Logo firm TP">
            <a:extLst>
              <a:ext uri="{FF2B5EF4-FFF2-40B4-BE49-F238E27FC236}">
                <a16:creationId xmlns:a16="http://schemas.microsoft.com/office/drawing/2014/main" id="{D5E5C1E9-D0DD-4C74-AEF1-2AE58B664EFA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784189-0091-4951-9830-22D90EA43D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49E1D5-C4B5-4DBE-984A-FA87BE84F6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0A5DB2-418B-4E60-BC31-2D791DD2137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3B2126E-1405-4EC3-8917-6B942221F3D3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</p:spTree>
    <p:extLst>
      <p:ext uri="{BB962C8B-B14F-4D97-AF65-F5344CB8AC3E}">
        <p14:creationId xmlns:p14="http://schemas.microsoft.com/office/powerpoint/2010/main" val="26765267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+ 2 tekst. Bilde H (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6" y="1903413"/>
            <a:ext cx="7581270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FC3276E-7691-4389-84CF-6248B6B56FC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4000" y="2156400"/>
            <a:ext cx="34452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EDBF40F-E700-420F-BBB1-42A472C301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377600" y="2156400"/>
            <a:ext cx="34452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8176" y="1911349"/>
            <a:ext cx="3411823" cy="4038601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6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CA86C6-7CCC-4EB0-8FB0-11F9AB23FB7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1C902-BB70-4B9D-8B82-5A9875415D9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29F70E-4DA5-4476-8EB2-8509D26AEFF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567092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2 tekst og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772844"/>
            <a:ext cx="6016627" cy="5312312"/>
          </a:xfrm>
          <a:solidFill>
            <a:schemeClr val="tx2"/>
          </a:solidFill>
        </p:spPr>
        <p:txBody>
          <a:bodyPr lIns="522000" rIns="522000"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CE84DA-09A2-4615-9945-846A73AD292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73999" y="3507558"/>
            <a:ext cx="2677901" cy="2577330"/>
          </a:xfrm>
          <a:solidFill>
            <a:srgbClr val="EEEDEE"/>
          </a:solidFill>
        </p:spPr>
        <p:txBody>
          <a:bodyPr lIns="252000" tIns="252000" rIns="252000" bIns="252000" anchor="ctr" anchorCtr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2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4"/>
            <a:endParaRPr lang="nb-NO"/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4000" y="773113"/>
            <a:ext cx="2669400" cy="25776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270A0F4-4568-4D8C-91F8-C6B767E87A3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02713" y="772843"/>
            <a:ext cx="2669400" cy="2577600"/>
          </a:xfrm>
          <a:solidFill>
            <a:srgbClr val="EEEDEE"/>
          </a:solidFill>
        </p:spPr>
        <p:txBody>
          <a:bodyPr lIns="252000" tIns="252000" rIns="252000" bIns="252000" anchor="ctr" anchorCtr="0"/>
          <a:lstStyle>
            <a:lvl1pPr>
              <a:defRPr sz="14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200"/>
            </a:lvl5pPr>
            <a:lvl6pPr>
              <a:buNone/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endParaRPr lang="nb-NO"/>
          </a:p>
        </p:txBody>
      </p:sp>
      <p:sp>
        <p:nvSpPr>
          <p:cNvPr id="14" name="Picture Placeholder 14">
            <a:extLst>
              <a:ext uri="{FF2B5EF4-FFF2-40B4-BE49-F238E27FC236}">
                <a16:creationId xmlns:a16="http://schemas.microsoft.com/office/drawing/2014/main" id="{C32488F1-A12C-4AEB-924E-D1DC51103F2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002713" y="3507556"/>
            <a:ext cx="2669400" cy="25776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CA86C6-7CCC-4EB0-8FB0-11F9AB23FB7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1C902-BB70-4B9D-8B82-5A9875415D9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29F70E-4DA5-4476-8EB2-8509D26AEFF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C61481A-D937-40A5-98A5-D97802F9B317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venstre tekstboks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Klikk på tekstboks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58962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9">
          <p15:clr>
            <a:srgbClr val="F26B43"/>
          </p15:clr>
        </p15:guide>
        <p15:guide id="2" pos="3889">
          <p15:clr>
            <a:srgbClr val="F26B43"/>
          </p15:clr>
        </p15:guide>
        <p15:guide id="3" pos="5671">
          <p15:clr>
            <a:srgbClr val="F26B43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3 bi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7" y="1903413"/>
            <a:ext cx="5634322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66B81E-2CCE-4F8D-AB8E-0954163560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4000" y="2156400"/>
            <a:ext cx="5102924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315078" y="1903412"/>
            <a:ext cx="1784348" cy="19404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78E08A37-FA4A-4EE9-A0DD-849500B0B7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15078" y="4009550"/>
            <a:ext cx="1784348" cy="19404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8176" y="1911349"/>
            <a:ext cx="3411823" cy="4038601"/>
          </a:xfrm>
          <a:prstGeom prst="rect">
            <a:avLst/>
          </a:prstGeom>
          <a:noFill/>
        </p:spPr>
        <p:txBody>
          <a:bodyPr lIns="36000" tIns="72000" rIns="36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186C48C-8036-4084-9E5C-47C4A2349B0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737B63-8BF8-441B-9F79-A75B46763420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E52441B-D6EC-4D92-9CE7-5ADB9BC4FF1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220661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tekst. 3 bil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7" y="1903413"/>
            <a:ext cx="5634322" cy="4046538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20" hasCustomPrompt="1"/>
          </p:nvPr>
        </p:nvSpPr>
        <p:spPr>
          <a:xfrm>
            <a:off x="774000" y="2156400"/>
            <a:ext cx="5102925" cy="3549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315078" y="1903412"/>
            <a:ext cx="1784348" cy="19404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78E08A37-FA4A-4EE9-A0DD-849500B0B7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15078" y="4009550"/>
            <a:ext cx="1784348" cy="19404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8176" y="1911349"/>
            <a:ext cx="3411823" cy="4038601"/>
          </a:xfrm>
          <a:prstGeom prst="rect">
            <a:avLst/>
          </a:prstGeom>
          <a:noFill/>
        </p:spPr>
        <p:txBody>
          <a:bodyPr lIns="36000" tIns="72000" rIns="36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04166-EF4C-480A-9FEF-94508D0D3A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C95F0E2-DE24-406A-A63C-3F814581CAF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E1F82B5-D030-4CC5-92C0-E55FB27315D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33496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4 bild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70947B48-7B43-482D-AE9D-5B43272566A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522007" y="1911350"/>
            <a:ext cx="5634321" cy="4038601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6315078" y="1903412"/>
            <a:ext cx="1784348" cy="19404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78E08A37-FA4A-4EE9-A0DD-849500B0B7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315078" y="4009550"/>
            <a:ext cx="1784348" cy="19404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258176" y="1911349"/>
            <a:ext cx="3411823" cy="4038601"/>
          </a:xfrm>
          <a:prstGeom prst="rect">
            <a:avLst/>
          </a:prstGeom>
          <a:noFill/>
        </p:spPr>
        <p:txBody>
          <a:bodyPr lIns="36000" tIns="72000" rIns="36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00DF22-15A0-4B6F-80C4-637C5F7F823A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12B3F-5C17-4ED0-8540-2F944F55E908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97EAFB-5C17-4081-A21E-50A00882EC0C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116433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g 4 bil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772844"/>
            <a:ext cx="6016627" cy="5312312"/>
          </a:xfrm>
          <a:solidFill>
            <a:schemeClr val="tx2"/>
          </a:solidFill>
        </p:spPr>
        <p:txBody>
          <a:bodyPr lIns="522000" rIns="522000" anchor="ctr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3" name="Picture Placeholder 14">
            <a:extLst>
              <a:ext uri="{FF2B5EF4-FFF2-40B4-BE49-F238E27FC236}">
                <a16:creationId xmlns:a16="http://schemas.microsoft.com/office/drawing/2014/main" id="{4054BEDB-C0AC-4C7B-814B-36BBB27D7928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4000" y="773113"/>
            <a:ext cx="2669400" cy="25776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1" name="Picture Placeholder 15">
            <a:extLst>
              <a:ext uri="{FF2B5EF4-FFF2-40B4-BE49-F238E27FC236}">
                <a16:creationId xmlns:a16="http://schemas.microsoft.com/office/drawing/2014/main" id="{4BAA6F03-279E-4985-8087-3AA00E8C59D0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174000" y="3507556"/>
            <a:ext cx="2669400" cy="25776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51D34A2D-616A-4D34-AC32-25C3ACA91E8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02713" y="773113"/>
            <a:ext cx="2669400" cy="25776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14" name="Picture Placeholder 17">
            <a:extLst>
              <a:ext uri="{FF2B5EF4-FFF2-40B4-BE49-F238E27FC236}">
                <a16:creationId xmlns:a16="http://schemas.microsoft.com/office/drawing/2014/main" id="{C32488F1-A12C-4AEB-924E-D1DC51103F2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9002713" y="3507556"/>
            <a:ext cx="2669400" cy="2577600"/>
          </a:xfrm>
          <a:prstGeom prst="rect">
            <a:avLst/>
          </a:prstGeom>
          <a:noFill/>
        </p:spPr>
        <p:txBody>
          <a:bodyPr tIns="72000" bIns="64800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CA86C6-7CCC-4EB0-8FB0-11F9AB23FB7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1C902-BB70-4B9D-8B82-5A9875415D9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29F70E-4DA5-4476-8EB2-8509D26AEFF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8150984-BA6D-48F1-A992-3DF9C97CD4B9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tekstboks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Klikk på tekstboks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1963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89">
          <p15:clr>
            <a:srgbClr val="F26B43"/>
          </p15:clr>
        </p15:guide>
        <p15:guide id="2" pos="3889">
          <p15:clr>
            <a:srgbClr val="F26B43"/>
          </p15:clr>
        </p15:guide>
        <p15:guide id="3" pos="567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id="{FD65A50E-2F73-4426-8586-9731AFA2D2E0}"/>
              </a:ext>
            </a:extLst>
          </p:cNvPr>
          <p:cNvSpPr>
            <a:spLocks noChangeAspect="1"/>
          </p:cNvSpPr>
          <p:nvPr/>
        </p:nvSpPr>
        <p:spPr>
          <a:xfrm>
            <a:off x="11091612" y="5893466"/>
            <a:ext cx="360000" cy="36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/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127000" dist="63500" dir="2700000">
              <a:schemeClr val="accent1">
                <a:lumMod val="60000"/>
                <a:lumOff val="40000"/>
                <a:alpha val="2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89C080-4102-49AE-BDA9-59A4A67E2486}"/>
              </a:ext>
            </a:extLst>
          </p:cNvPr>
          <p:cNvSpPr/>
          <p:nvPr/>
        </p:nvSpPr>
        <p:spPr>
          <a:xfrm>
            <a:off x="11451612" y="5827878"/>
            <a:ext cx="379049" cy="360000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E62014-F04C-495A-964E-6B888D49CD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549275"/>
            <a:ext cx="11097551" cy="1332000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2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5DF027-E633-44EE-ACA0-C205930AA9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4" y="1881275"/>
            <a:ext cx="5437186" cy="535354"/>
          </a:xfrm>
        </p:spPr>
        <p:txBody>
          <a:bodyPr anchor="b">
            <a:normAutofit/>
          </a:bodyPr>
          <a:lstStyle>
            <a:lvl1pPr marL="0" indent="0">
              <a:buNone/>
              <a:defRPr sz="1400" b="0" cap="all" spc="20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BA4F363-FEEF-4CD2-A18E-17AE8D48517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0863" y="2577270"/>
            <a:ext cx="5429114" cy="35155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E50F8C-4D64-40FD-AE8C-6A1F3C2A84E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12024" y="1881275"/>
            <a:ext cx="5436392" cy="535354"/>
          </a:xfrm>
        </p:spPr>
        <p:txBody>
          <a:bodyPr vert="horz" wrap="square" lIns="0" tIns="0" rIns="0" bIns="0" rtlCol="0" anchor="b">
            <a:normAutofit/>
          </a:bodyPr>
          <a:lstStyle>
            <a:lvl1pPr>
              <a:defRPr lang="en-US" sz="1400" b="0" cap="all" spc="200" baseline="0" dirty="0">
                <a:solidFill>
                  <a:schemeClr val="tx1"/>
                </a:solidFill>
              </a:defRPr>
            </a:lvl1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7AC943E-DB2B-40E0-907F-8EA1404791D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12023" y="2577270"/>
            <a:ext cx="5436391" cy="351555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DCDCD5B-3F26-4AFA-8BD4-E5D8DD2AF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3138FA-2E87-4873-8BBA-13E447C9A99A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D10D1EE-83A0-4FB5-9B25-8A73DE891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031C35-2E5B-491D-85ED-DB42A4FE1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7668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tekst, bildebakgrunn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72000" bIns="0" anchor="t" anchorCtr="0"/>
          <a:lstStyle>
            <a:lvl1pPr marL="0" indent="0" algn="ctr">
              <a:buNone/>
              <a:defRPr sz="1400" cap="none" baseline="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D57D125-520A-4C54-AEF4-E09377F791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B46B293-2A44-406D-A984-5656174A68E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0" y="1903414"/>
            <a:ext cx="5876925" cy="3112340"/>
          </a:xfrm>
          <a:solidFill>
            <a:schemeClr val="accent2"/>
          </a:solidFill>
        </p:spPr>
        <p:txBody>
          <a:bodyPr lIns="522000" tIns="252000" rIns="522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784189-0091-4951-9830-22D90EA43D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49E1D5-C4B5-4DBE-984A-FA87BE84F6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0A5DB2-418B-4E60-BC31-2D791DD2137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6" name="Logo firm TP">
            <a:extLst>
              <a:ext uri="{FF2B5EF4-FFF2-40B4-BE49-F238E27FC236}">
                <a16:creationId xmlns:a16="http://schemas.microsoft.com/office/drawing/2014/main" id="{94D684B0-E507-4AF7-AC2B-1441329F0B4F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8" name="Marker bottom TP22">
            <a:extLst>
              <a:ext uri="{FF2B5EF4-FFF2-40B4-BE49-F238E27FC236}">
                <a16:creationId xmlns:a16="http://schemas.microsoft.com/office/drawing/2014/main" id="{A48CD9B1-C546-4BE1-84A8-91457C410E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8400" y="6293236"/>
            <a:ext cx="169200" cy="564762"/>
          </a:xfrm>
          <a:custGeom>
            <a:avLst/>
            <a:gdLst>
              <a:gd name="connsiteX0" fmla="*/ 169200 w 169200"/>
              <a:gd name="connsiteY0" fmla="*/ 0 h 564762"/>
              <a:gd name="connsiteX1" fmla="*/ 169200 w 169200"/>
              <a:gd name="connsiteY1" fmla="*/ 564762 h 564762"/>
              <a:gd name="connsiteX2" fmla="*/ 0 w 169200"/>
              <a:gd name="connsiteY2" fmla="*/ 564762 h 564762"/>
              <a:gd name="connsiteX3" fmla="*/ 0 w 169200"/>
              <a:gd name="connsiteY3" fmla="*/ 119974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169200" y="0"/>
                </a:moveTo>
                <a:lnTo>
                  <a:pt x="169200" y="564762"/>
                </a:lnTo>
                <a:lnTo>
                  <a:pt x="0" y="564762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4" name="Marker top TP18">
            <a:extLst>
              <a:ext uri="{FF2B5EF4-FFF2-40B4-BE49-F238E27FC236}">
                <a16:creationId xmlns:a16="http://schemas.microsoft.com/office/drawing/2014/main" id="{CD11256E-BBBF-426F-B367-913ADAE3BA2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8400" y="0"/>
            <a:ext cx="169200" cy="564762"/>
          </a:xfrm>
          <a:custGeom>
            <a:avLst/>
            <a:gdLst>
              <a:gd name="connsiteX0" fmla="*/ 0 w 169200"/>
              <a:gd name="connsiteY0" fmla="*/ 0 h 564762"/>
              <a:gd name="connsiteX1" fmla="*/ 169200 w 169200"/>
              <a:gd name="connsiteY1" fmla="*/ 0 h 564762"/>
              <a:gd name="connsiteX2" fmla="*/ 169200 w 169200"/>
              <a:gd name="connsiteY2" fmla="*/ 444788 h 564762"/>
              <a:gd name="connsiteX3" fmla="*/ 0 w 169200"/>
              <a:gd name="connsiteY3" fmla="*/ 564762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0" y="0"/>
                </a:moveTo>
                <a:lnTo>
                  <a:pt x="169200" y="0"/>
                </a:lnTo>
                <a:lnTo>
                  <a:pt x="169200" y="444788"/>
                </a:lnTo>
                <a:lnTo>
                  <a:pt x="0" y="5647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2FE531D-C17A-422F-9146-BAB708060850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tekstboks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Klikk på tekstboks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78645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tekst, bildebakgrunn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noFill/>
        </p:spPr>
        <p:txBody>
          <a:bodyPr lIns="0" tIns="72000" bIns="0" anchor="t" anchorCtr="0"/>
          <a:lstStyle>
            <a:lvl1pPr marL="0" indent="0" algn="ctr">
              <a:buNone/>
              <a:defRPr sz="1400"/>
            </a:lvl1pPr>
          </a:lstStyle>
          <a:p>
            <a:r>
              <a:rPr lang="nb-NO"/>
              <a:t>Klikk på plassholderen og sett inn baggrunnsbilde via BrandMaster 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904EC3D1-C5EF-4BA4-9E28-796F83CE9E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835290"/>
            <a:ext cx="6096000" cy="4914000"/>
          </a:xfrm>
          <a:solidFill>
            <a:schemeClr val="accent5">
              <a:alpha val="60000"/>
            </a:schemeClr>
          </a:solidFill>
        </p:spPr>
        <p:txBody>
          <a:bodyPr lIns="522000" tIns="324000" rIns="522000" bIns="435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, maks. 3 linjer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B46B293-2A44-406D-A984-5656174A68E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0" y="2768400"/>
            <a:ext cx="6096000" cy="2980890"/>
          </a:xfrm>
          <a:noFill/>
        </p:spPr>
        <p:txBody>
          <a:bodyPr lIns="522000" tIns="0" rIns="522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784189-0091-4951-9830-22D90EA43D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49E1D5-C4B5-4DBE-984A-FA87BE84F6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0A5DB2-418B-4E60-BC31-2D791DD2137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7" name="Logo firm TP">
            <a:extLst>
              <a:ext uri="{FF2B5EF4-FFF2-40B4-BE49-F238E27FC236}">
                <a16:creationId xmlns:a16="http://schemas.microsoft.com/office/drawing/2014/main" id="{595C273D-2172-4788-B2B0-D7049DAC6C6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8" name="Marker bottom TP22">
            <a:extLst>
              <a:ext uri="{FF2B5EF4-FFF2-40B4-BE49-F238E27FC236}">
                <a16:creationId xmlns:a16="http://schemas.microsoft.com/office/drawing/2014/main" id="{A48CD9B1-C546-4BE1-84A8-91457C410E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8400" y="6293236"/>
            <a:ext cx="169200" cy="564762"/>
          </a:xfrm>
          <a:custGeom>
            <a:avLst/>
            <a:gdLst>
              <a:gd name="connsiteX0" fmla="*/ 169200 w 169200"/>
              <a:gd name="connsiteY0" fmla="*/ 0 h 564762"/>
              <a:gd name="connsiteX1" fmla="*/ 169200 w 169200"/>
              <a:gd name="connsiteY1" fmla="*/ 564762 h 564762"/>
              <a:gd name="connsiteX2" fmla="*/ 0 w 169200"/>
              <a:gd name="connsiteY2" fmla="*/ 564762 h 564762"/>
              <a:gd name="connsiteX3" fmla="*/ 0 w 169200"/>
              <a:gd name="connsiteY3" fmla="*/ 119974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169200" y="0"/>
                </a:moveTo>
                <a:lnTo>
                  <a:pt x="169200" y="564762"/>
                </a:lnTo>
                <a:lnTo>
                  <a:pt x="0" y="564762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4" name="Marker top TP18">
            <a:extLst>
              <a:ext uri="{FF2B5EF4-FFF2-40B4-BE49-F238E27FC236}">
                <a16:creationId xmlns:a16="http://schemas.microsoft.com/office/drawing/2014/main" id="{CD11256E-BBBF-426F-B367-913ADAE3BA2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8400" y="0"/>
            <a:ext cx="169200" cy="564762"/>
          </a:xfrm>
          <a:custGeom>
            <a:avLst/>
            <a:gdLst>
              <a:gd name="connsiteX0" fmla="*/ 0 w 169200"/>
              <a:gd name="connsiteY0" fmla="*/ 0 h 564762"/>
              <a:gd name="connsiteX1" fmla="*/ 169200 w 169200"/>
              <a:gd name="connsiteY1" fmla="*/ 0 h 564762"/>
              <a:gd name="connsiteX2" fmla="*/ 169200 w 169200"/>
              <a:gd name="connsiteY2" fmla="*/ 444788 h 564762"/>
              <a:gd name="connsiteX3" fmla="*/ 0 w 169200"/>
              <a:gd name="connsiteY3" fmla="*/ 564762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0" y="0"/>
                </a:moveTo>
                <a:lnTo>
                  <a:pt x="169200" y="0"/>
                </a:lnTo>
                <a:lnTo>
                  <a:pt x="169200" y="444788"/>
                </a:lnTo>
                <a:lnTo>
                  <a:pt x="0" y="5647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B3F0F25-3F8D-4BB9-B2AB-BDE33F41ECA2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tekstboks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Klikk på tekstboks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43027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tekst, bildebakgrunn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5940000" tIns="72000" bIns="0" anchor="t" anchorCtr="0"/>
          <a:lstStyle>
            <a:lvl1pPr marL="0" indent="0" algn="l">
              <a:buNone/>
              <a:defRPr sz="1400"/>
            </a:lvl1pPr>
          </a:lstStyle>
          <a:p>
            <a:r>
              <a:rPr lang="nb-NO"/>
              <a:t>Klikk på plassholderen og sett inn bilde via BrandMaster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D57D125-520A-4C54-AEF4-E09377F791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1"/>
            <a:ext cx="5281613" cy="6858000"/>
          </a:xfrm>
          <a:solidFill>
            <a:schemeClr val="tx2">
              <a:alpha val="60000"/>
            </a:schemeClr>
          </a:solidFill>
        </p:spPr>
        <p:txBody>
          <a:bodyPr lIns="522000" tIns="774000" rIns="522000" bIns="435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FB46B293-2A44-406D-A984-5656174A68E7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0" y="2768401"/>
            <a:ext cx="5281613" cy="3181550"/>
          </a:xfrm>
          <a:noFill/>
        </p:spPr>
        <p:txBody>
          <a:bodyPr lIns="522000" tIns="0" rIns="52200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2784189-0091-4951-9830-22D90EA43D89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49E1D5-C4B5-4DBE-984A-FA87BE84F6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90A5DB2-418B-4E60-BC31-2D791DD2137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Marker bottom TP22">
            <a:extLst>
              <a:ext uri="{FF2B5EF4-FFF2-40B4-BE49-F238E27FC236}">
                <a16:creationId xmlns:a16="http://schemas.microsoft.com/office/drawing/2014/main" id="{A48CD9B1-C546-4BE1-84A8-91457C410EA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8400" y="6293236"/>
            <a:ext cx="169200" cy="564762"/>
          </a:xfrm>
          <a:custGeom>
            <a:avLst/>
            <a:gdLst>
              <a:gd name="connsiteX0" fmla="*/ 169200 w 169200"/>
              <a:gd name="connsiteY0" fmla="*/ 0 h 564762"/>
              <a:gd name="connsiteX1" fmla="*/ 169200 w 169200"/>
              <a:gd name="connsiteY1" fmla="*/ 564762 h 564762"/>
              <a:gd name="connsiteX2" fmla="*/ 0 w 169200"/>
              <a:gd name="connsiteY2" fmla="*/ 564762 h 564762"/>
              <a:gd name="connsiteX3" fmla="*/ 0 w 169200"/>
              <a:gd name="connsiteY3" fmla="*/ 119974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169200" y="0"/>
                </a:moveTo>
                <a:lnTo>
                  <a:pt x="169200" y="564762"/>
                </a:lnTo>
                <a:lnTo>
                  <a:pt x="0" y="564762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4" name="Marker top TP18">
            <a:extLst>
              <a:ext uri="{FF2B5EF4-FFF2-40B4-BE49-F238E27FC236}">
                <a16:creationId xmlns:a16="http://schemas.microsoft.com/office/drawing/2014/main" id="{CD11256E-BBBF-426F-B367-913ADAE3BA2B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8400" y="0"/>
            <a:ext cx="169200" cy="564762"/>
          </a:xfrm>
          <a:custGeom>
            <a:avLst/>
            <a:gdLst>
              <a:gd name="connsiteX0" fmla="*/ 0 w 169200"/>
              <a:gd name="connsiteY0" fmla="*/ 0 h 564762"/>
              <a:gd name="connsiteX1" fmla="*/ 169200 w 169200"/>
              <a:gd name="connsiteY1" fmla="*/ 0 h 564762"/>
              <a:gd name="connsiteX2" fmla="*/ 169200 w 169200"/>
              <a:gd name="connsiteY2" fmla="*/ 444788 h 564762"/>
              <a:gd name="connsiteX3" fmla="*/ 0 w 169200"/>
              <a:gd name="connsiteY3" fmla="*/ 564762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0" y="0"/>
                </a:moveTo>
                <a:lnTo>
                  <a:pt x="169200" y="0"/>
                </a:lnTo>
                <a:lnTo>
                  <a:pt x="169200" y="444788"/>
                </a:lnTo>
                <a:lnTo>
                  <a:pt x="0" y="564762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6" name="Logo firm TP">
            <a:extLst>
              <a:ext uri="{FF2B5EF4-FFF2-40B4-BE49-F238E27FC236}">
                <a16:creationId xmlns:a16="http://schemas.microsoft.com/office/drawing/2014/main" id="{987D4BF0-D0F1-4543-9B7A-C83A9E41309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1B678D0-AE48-41A1-8CAC-35D1A2CD812E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fargefilter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Innsett bilde til høyre først. Klikk så på fargefilter til venstre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3325401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tekst og bilde H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 white">
            <a:extLst>
              <a:ext uri="{FF2B5EF4-FFF2-40B4-BE49-F238E27FC236}">
                <a16:creationId xmlns:a16="http://schemas.microsoft.com/office/drawing/2014/main" id="{22A16D7E-0AE1-4BDD-9242-F3BFC0C11CC3}"/>
              </a:ext>
            </a:extLst>
          </p:cNvPr>
          <p:cNvSpPr/>
          <p:nvPr userDrawn="1"/>
        </p:nvSpPr>
        <p:spPr bwMode="auto">
          <a:xfrm flipH="1">
            <a:off x="6095999" y="0"/>
            <a:ext cx="6095999" cy="685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9" name="Overlay">
            <a:extLst>
              <a:ext uri="{FF2B5EF4-FFF2-40B4-BE49-F238E27FC236}">
                <a16:creationId xmlns:a16="http://schemas.microsoft.com/office/drawing/2014/main" id="{D44237E9-B895-4D39-AA0C-00C7E39949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094799" y="0"/>
            <a:ext cx="6094800" cy="6858000"/>
          </a:xfrm>
          <a:solidFill>
            <a:schemeClr val="tx2">
              <a:alpha val="60000"/>
            </a:schemeClr>
          </a:solidFill>
        </p:spPr>
        <p:txBody>
          <a:bodyPr anchor="b" anchorCtr="0"/>
          <a:lstStyle>
            <a:lvl1pPr marL="0" indent="0">
              <a:buFontTx/>
              <a:buNone/>
              <a:defRPr sz="100">
                <a:noFill/>
              </a:defRPr>
            </a:lvl1pPr>
            <a:lvl2pPr marL="4680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9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792000" indent="0">
              <a:buFontTx/>
              <a:buNone/>
              <a:defRPr>
                <a:solidFill>
                  <a:schemeClr val="bg1"/>
                </a:solidFill>
              </a:defRPr>
            </a:lvl4pPr>
            <a:lvl5pPr marL="7920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Disclaimer</a:t>
            </a:r>
          </a:p>
        </p:txBody>
      </p:sp>
      <p:sp>
        <p:nvSpPr>
          <p:cNvPr id="18" name="Picture Placeholder 10">
            <a:extLst>
              <a:ext uri="{FF2B5EF4-FFF2-40B4-BE49-F238E27FC236}">
                <a16:creationId xmlns:a16="http://schemas.microsoft.com/office/drawing/2014/main" id="{54478627-8D32-49F8-82C0-E56BDEB999C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5998" y="1"/>
            <a:ext cx="6096002" cy="6858000"/>
          </a:xfrm>
          <a:prstGeom prst="rect">
            <a:avLst/>
          </a:prstGeom>
          <a:noFill/>
        </p:spPr>
        <p:txBody>
          <a:bodyPr lIns="36000" tIns="72000" rIns="36000" bIns="0" anchor="t" anchorCtr="0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på plassholderen og sett inn bilde via BrandMaster. For å få fargefilter på bildet, høyreklikk på innsatt bilde og velg Plasser lengst bak.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5AECD3-5BCF-473C-8BAB-C48DDDF20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700" y="772844"/>
            <a:ext cx="5063310" cy="17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, maks. 4 linj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520699" y="2768399"/>
            <a:ext cx="5063311" cy="3181551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613742" y="772844"/>
            <a:ext cx="5055971" cy="5177105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Innsett figur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14" name="MarkerTop">
            <a:extLst>
              <a:ext uri="{FF2B5EF4-FFF2-40B4-BE49-F238E27FC236}">
                <a16:creationId xmlns:a16="http://schemas.microsoft.com/office/drawing/2014/main" id="{053235A6-1A45-4459-B0FB-1F674201CE2E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6" name="MarkerBottom">
            <a:extLst>
              <a:ext uri="{FF2B5EF4-FFF2-40B4-BE49-F238E27FC236}">
                <a16:creationId xmlns:a16="http://schemas.microsoft.com/office/drawing/2014/main" id="{1FD482AB-5CEC-4B88-A343-3AD4338D5DD7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5" name="Logo firm TP">
            <a:extLst>
              <a:ext uri="{FF2B5EF4-FFF2-40B4-BE49-F238E27FC236}">
                <a16:creationId xmlns:a16="http://schemas.microsoft.com/office/drawing/2014/main" id="{29ED289F-4A09-4707-A1F3-D8785F8A17C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F6C0A4C-CFEB-4986-A81C-2E4BF93100B4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4C2B3D-9B85-4566-81EA-05624681ED2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0D80F1-D25F-438F-B378-A1C25379909E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1DBBD67-91D0-4827-92A3-D118578C0052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fargefilter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Sett inn bilde til høyre først, høyreklikk på 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Plasser lengst ba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Klikk så på fargefilter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</a:t>
            </a:r>
            <a:endParaRPr lang="nb-NO"/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dsfarge til venstr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15773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46">
          <p15:clr>
            <a:srgbClr val="F26B43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tekst og innhold A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ackground white">
            <a:extLst>
              <a:ext uri="{FF2B5EF4-FFF2-40B4-BE49-F238E27FC236}">
                <a16:creationId xmlns:a16="http://schemas.microsoft.com/office/drawing/2014/main" id="{22A16D7E-0AE1-4BDD-9242-F3BFC0C11CC3}"/>
              </a:ext>
            </a:extLst>
          </p:cNvPr>
          <p:cNvSpPr/>
          <p:nvPr userDrawn="1"/>
        </p:nvSpPr>
        <p:spPr bwMode="auto">
          <a:xfrm flipH="1">
            <a:off x="6696000" y="0"/>
            <a:ext cx="5495999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5AECD3-5BCF-473C-8BAB-C48DDDF20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0699" y="772844"/>
            <a:ext cx="5653013" cy="176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en tittel, maks. 4 linj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520699" y="2768399"/>
            <a:ext cx="5653014" cy="3181549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7218287" y="772844"/>
            <a:ext cx="4451426" cy="5177105"/>
          </a:xfrm>
        </p:spPr>
        <p:txBody>
          <a:bodyPr/>
          <a:lstStyle>
            <a:lvl1pPr>
              <a:defRPr/>
            </a:lvl1pPr>
            <a:lvl3pPr>
              <a:defRPr/>
            </a:lvl3pPr>
          </a:lstStyle>
          <a:p>
            <a:pPr lvl="0"/>
            <a:r>
              <a:rPr lang="nb-NO"/>
              <a:t>Klikk for å legge til tekst eller figur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½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pic>
        <p:nvPicPr>
          <p:cNvPr id="15" name="Logo" descr="A picture containing drawing&#10;&#10;Description automatically generated">
            <a:extLst>
              <a:ext uri="{FF2B5EF4-FFF2-40B4-BE49-F238E27FC236}">
                <a16:creationId xmlns:a16="http://schemas.microsoft.com/office/drawing/2014/main" id="{3A580EC4-F640-45E6-9E6D-E1232B971F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14" name="MarkerTop">
            <a:extLst>
              <a:ext uri="{FF2B5EF4-FFF2-40B4-BE49-F238E27FC236}">
                <a16:creationId xmlns:a16="http://schemas.microsoft.com/office/drawing/2014/main" id="{053235A6-1A45-4459-B0FB-1F674201CE2E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6" name="MarkerBottom">
            <a:extLst>
              <a:ext uri="{FF2B5EF4-FFF2-40B4-BE49-F238E27FC236}">
                <a16:creationId xmlns:a16="http://schemas.microsoft.com/office/drawing/2014/main" id="{1FD482AB-5CEC-4B88-A343-3AD4338D5DD7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E7E8D22-4424-4CEC-BB6B-0F4B6A1D0E3E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1DB303C-66FB-4D31-AD6C-D12E0C785C6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071850-A313-48BB-AC94-86A3A9DE208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8862DD-0294-418E-A5CC-F876F664855F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bakgrunnsfarge til venstre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7859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46">
          <p15:clr>
            <a:srgbClr val="F26B43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tekst og innhold, B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5354919" cy="1764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, maks. 4 linjer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1D204C42-3F24-4D3F-B963-98F547223D8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22007" y="2768400"/>
            <a:ext cx="5342400" cy="3181550"/>
          </a:xfrm>
        </p:spPr>
        <p:txBody>
          <a:bodyPr/>
          <a:lstStyle>
            <a:lvl1pPr>
              <a:buClrTx/>
              <a:defRPr/>
            </a:lvl1pPr>
            <a:lvl5pPr>
              <a:defRPr/>
            </a:lvl5pPr>
          </a:lstStyle>
          <a:p>
            <a:pPr lvl="0"/>
            <a:r>
              <a:rPr lang="nb-NO" noProof="0"/>
              <a:t>Klikk for å legge til tekst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  <a:p>
            <a:pPr lvl="3"/>
            <a:r>
              <a:rPr lang="nb-NO" noProof="0"/>
              <a:t>Fourth level</a:t>
            </a:r>
            <a:endParaRPr lang="nb-NO"/>
          </a:p>
          <a:p>
            <a:pPr lvl="4"/>
            <a:r>
              <a:rPr lang="nb-NO" noProof="0"/>
              <a:t>Fifth level</a:t>
            </a:r>
            <a:endParaRPr lang="nb-NO"/>
          </a:p>
          <a:p>
            <a:pPr lvl="5"/>
            <a:r>
              <a:rPr lang="nb-NO" noProof="0"/>
              <a:t>6</a:t>
            </a:r>
            <a:endParaRPr lang="nb-NO"/>
          </a:p>
          <a:p>
            <a:pPr lvl="6"/>
            <a:r>
              <a:rPr lang="nb-NO" noProof="0"/>
              <a:t>7</a:t>
            </a:r>
            <a:endParaRPr lang="nb-NO"/>
          </a:p>
          <a:p>
            <a:pPr lvl="7"/>
            <a:r>
              <a:rPr lang="nb-NO" noProof="0"/>
              <a:t>8</a:t>
            </a:r>
            <a:endParaRPr lang="nb-NO"/>
          </a:p>
          <a:p>
            <a:pPr lvl="8"/>
            <a:r>
              <a:rPr lang="nb-NO" noProof="0"/>
              <a:t>9</a:t>
            </a:r>
            <a:endParaRPr lang="nb-NO"/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8E10C133-7448-4464-98EB-2451ADFCBBC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3487" y="772843"/>
            <a:ext cx="5356225" cy="5177107"/>
          </a:xfrm>
        </p:spPr>
        <p:txBody>
          <a:bodyPr/>
          <a:lstStyle>
            <a:lvl1pPr>
              <a:buClrTx/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nb-NO" noProof="0"/>
              <a:t>Klikk for å legge til tekst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 noProof="0"/>
              <a:t>6</a:t>
            </a:r>
            <a:endParaRPr lang="nb-NO"/>
          </a:p>
          <a:p>
            <a:pPr lvl="6"/>
            <a:r>
              <a:rPr lang="nb-NO" noProof="0"/>
              <a:t>7</a:t>
            </a:r>
            <a:endParaRPr lang="nb-NO"/>
          </a:p>
          <a:p>
            <a:pPr lvl="7"/>
            <a:r>
              <a:rPr lang="nb-NO" noProof="0"/>
              <a:t>8</a:t>
            </a:r>
            <a:endParaRPr lang="nb-NO"/>
          </a:p>
          <a:p>
            <a:pPr lvl="8"/>
            <a:r>
              <a:rPr lang="nb-NO" noProof="0"/>
              <a:t>9</a:t>
            </a:r>
            <a:endParaRPr lang="nb-NO"/>
          </a:p>
        </p:txBody>
      </p:sp>
      <p:sp>
        <p:nvSpPr>
          <p:cNvPr id="10" name="MarkerTop">
            <a:extLst>
              <a:ext uri="{FF2B5EF4-FFF2-40B4-BE49-F238E27FC236}">
                <a16:creationId xmlns:a16="http://schemas.microsoft.com/office/drawing/2014/main" id="{E80A5E87-B57B-4B59-94A9-4FD7DC4215A0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1" name="MarkerBottom">
            <a:extLst>
              <a:ext uri="{FF2B5EF4-FFF2-40B4-BE49-F238E27FC236}">
                <a16:creationId xmlns:a16="http://schemas.microsoft.com/office/drawing/2014/main" id="{4613C60D-451E-4656-ABBC-0EBF2880FEE9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04166-EF4C-480A-9FEF-94508D0D3A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C95F0E2-DE24-406A-A63C-3F814581CAF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E1F82B5-D030-4CC5-92C0-E55FB27315D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2" name="Logo firm">
            <a:extLst>
              <a:ext uri="{FF2B5EF4-FFF2-40B4-BE49-F238E27FC236}">
                <a16:creationId xmlns:a16="http://schemas.microsoft.com/office/drawing/2014/main" id="{45D97438-69F8-48F8-A31C-DCDC9B882A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D27FB18E-D9BA-4120-8F2F-BEE2B58182F8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Farge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71801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tekst og inn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6" y="1903413"/>
            <a:ext cx="7581270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FC3276E-7691-4389-84CF-6248B6B56FC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4000" y="2156400"/>
            <a:ext cx="70488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E41BC9-5232-499D-BA30-6901B32883D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258176" y="1903412"/>
            <a:ext cx="3411824" cy="4038601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 sz="100"/>
            </a:lvl2pPr>
            <a:lvl3pPr marL="468000" indent="0">
              <a:buNone/>
              <a:defRPr sz="100"/>
            </a:lvl3pPr>
            <a:lvl4pPr marL="648000" indent="0">
              <a:buNone/>
              <a:defRPr sz="100"/>
            </a:lvl4pPr>
            <a:lvl5pPr>
              <a:buNone/>
              <a:defRPr sz="100"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B2867-570D-4EC5-89C0-CF8107294B7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501974" y="2156400"/>
            <a:ext cx="2916026" cy="3549600"/>
          </a:xfrm>
          <a:noFill/>
        </p:spPr>
        <p:txBody>
          <a:bodyPr lIns="0" tIns="0" rIns="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grafikk eller illustrasjon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CA86C6-7CCC-4EB0-8FB0-11F9AB23FB7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1C902-BB70-4B9D-8B82-5A9875415D9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29F70E-4DA5-4476-8EB2-8509D26AEFF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6E875D-B3C0-40D2-AA65-5377127149D9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høyre boks: </a:t>
            </a:r>
            <a:r>
              <a:rPr lang="nb-NO" sz="1200"/>
              <a:t>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likk på boksen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495443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tekst og innhold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4089212" y="1903413"/>
            <a:ext cx="7581270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FC3276E-7691-4389-84CF-6248B6B56FC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41206" y="2156400"/>
            <a:ext cx="70488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E41BC9-5232-499D-BA30-6901B32883D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001" y="1903412"/>
            <a:ext cx="3411824" cy="4038601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 sz="100"/>
            </a:lvl2pPr>
            <a:lvl3pPr marL="468000" indent="0">
              <a:buNone/>
              <a:defRPr sz="100"/>
            </a:lvl3pPr>
            <a:lvl4pPr marL="648000" indent="0">
              <a:buNone/>
              <a:defRPr sz="100"/>
            </a:lvl4pPr>
            <a:lvl5pPr>
              <a:buNone/>
              <a:defRPr sz="100"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579B2867-570D-4EC5-89C0-CF8107294B72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5799" y="2156400"/>
            <a:ext cx="2916026" cy="3549600"/>
          </a:xfrm>
          <a:noFill/>
        </p:spPr>
        <p:txBody>
          <a:bodyPr lIns="0" tIns="0" rIns="0"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grafikk eller illustrasjon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4CA86C6-7CCC-4EB0-8FB0-11F9AB23FB7D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F71C902-BB70-4B9D-8B82-5A9875415D9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29F70E-4DA5-4476-8EB2-8509D26AEFFC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66E875D-B3C0-40D2-AA65-5377127149D9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venstre boks: </a:t>
            </a:r>
            <a:r>
              <a:rPr lang="nb-NO" sz="1200"/>
              <a:t>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likk på boksen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8331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tekst og innhold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 color">
            <a:extLst>
              <a:ext uri="{FF2B5EF4-FFF2-40B4-BE49-F238E27FC236}">
                <a16:creationId xmlns:a16="http://schemas.microsoft.com/office/drawing/2014/main" id="{C762306F-C499-429F-A4A7-157BD332160B}"/>
              </a:ext>
            </a:extLst>
          </p:cNvPr>
          <p:cNvSpPr/>
          <p:nvPr userDrawn="1"/>
        </p:nvSpPr>
        <p:spPr bwMode="auto">
          <a:xfrm>
            <a:off x="8257894" y="1903413"/>
            <a:ext cx="3411819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5AECD3-5BCF-473C-8BAB-C48DDDF20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7A3D861D-563B-4444-814D-61AE6E01856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2000" y="1903412"/>
            <a:ext cx="7577425" cy="4038601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 sz="100"/>
            </a:lvl2pPr>
            <a:lvl3pPr marL="468000" indent="0">
              <a:buNone/>
              <a:defRPr sz="100"/>
            </a:lvl3pPr>
            <a:lvl4pPr marL="648000" indent="0">
              <a:buNone/>
              <a:defRPr sz="100"/>
            </a:lvl4pPr>
            <a:lvl5pPr>
              <a:buNone/>
              <a:defRPr sz="100"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8" hasCustomPrompt="1"/>
          </p:nvPr>
        </p:nvSpPr>
        <p:spPr>
          <a:xfrm>
            <a:off x="774000" y="2156400"/>
            <a:ext cx="7074000" cy="3549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grafikk eller illustrasjon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0F9A0C6-CB1C-42AC-95C0-38E6B124F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10400" y="2156400"/>
            <a:ext cx="2908800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3059D6-2E48-419E-81D3-3FB4C778666F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venstre boks: </a:t>
            </a:r>
            <a:r>
              <a:rPr lang="nb-NO" sz="1200"/>
              <a:t>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likk på boksen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A0596A9-EA67-44CD-9DC7-B9E024407A90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0FD8B92-A2F2-4284-8F2C-0710B9F1F959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8CEFD2-1AB2-457D-9D53-ED680C31871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9742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, tekst og innhold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ackground color">
            <a:extLst>
              <a:ext uri="{FF2B5EF4-FFF2-40B4-BE49-F238E27FC236}">
                <a16:creationId xmlns:a16="http://schemas.microsoft.com/office/drawing/2014/main" id="{72126FF4-B3E6-4B4F-869A-9C68CFB2A4DA}"/>
              </a:ext>
            </a:extLst>
          </p:cNvPr>
          <p:cNvSpPr/>
          <p:nvPr userDrawn="1"/>
        </p:nvSpPr>
        <p:spPr bwMode="auto">
          <a:xfrm>
            <a:off x="522006" y="1903413"/>
            <a:ext cx="5573993" cy="4046538"/>
          </a:xfrm>
          <a:prstGeom prst="rect">
            <a:avLst/>
          </a:prstGeom>
          <a:solidFill>
            <a:srgbClr val="EEEDEE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27C493E4-E16B-45BE-BAFC-5C174CBCA1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F190BB8-EC59-44D2-95E7-1861BAA964C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74000" y="2156400"/>
            <a:ext cx="5102924" cy="3549600"/>
          </a:xfrm>
        </p:spPr>
        <p:txBody>
          <a:bodyPr/>
          <a:lstStyle/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1D51677-0F96-4B0F-94FC-BD64BD256A6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095720" y="1903412"/>
            <a:ext cx="5573993" cy="4038601"/>
          </a:xfrm>
          <a:solidFill>
            <a:schemeClr val="tx2"/>
          </a:solid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 sz="100"/>
            </a:lvl2pPr>
            <a:lvl3pPr marL="468000" indent="0">
              <a:buNone/>
              <a:defRPr sz="100"/>
            </a:lvl3pPr>
            <a:lvl4pPr marL="648000" indent="0">
              <a:buNone/>
              <a:defRPr sz="100"/>
            </a:lvl4pPr>
            <a:lvl5pPr>
              <a:buNone/>
              <a:defRPr sz="100"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8E10C133-7448-4464-98EB-2451ADFCBBC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13488" y="2156400"/>
            <a:ext cx="5104512" cy="3549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 noProof="0"/>
              <a:t>Klikk for å legge til grafikk eller illustrasjo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 noProof="0"/>
              <a:t>6</a:t>
            </a:r>
            <a:endParaRPr lang="nb-NO"/>
          </a:p>
          <a:p>
            <a:pPr lvl="6"/>
            <a:r>
              <a:rPr lang="nb-NO" noProof="0"/>
              <a:t>7</a:t>
            </a:r>
            <a:endParaRPr lang="nb-NO"/>
          </a:p>
          <a:p>
            <a:pPr lvl="7"/>
            <a:r>
              <a:rPr lang="nb-NO" noProof="0"/>
              <a:t>8</a:t>
            </a:r>
            <a:endParaRPr lang="nb-NO"/>
          </a:p>
          <a:p>
            <a:pPr lvl="8"/>
            <a:r>
              <a:rPr lang="nb-NO" noProof="0"/>
              <a:t>9</a:t>
            </a:r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37C3FBA-4DEC-4A4A-AA61-363993BBDF7B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høyre boks: </a:t>
            </a:r>
            <a:r>
              <a:rPr lang="nb-NO" sz="1200"/>
              <a:t>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likk på boksen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 </a:t>
            </a:r>
            <a:endParaRPr lang="nb-NO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54FA795-8372-432C-8F58-49051AD7C716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4DAF03-6941-4CAC-B3CE-256369ED51AC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AF6E1F-EFD8-4F81-98CC-E8A96EA3398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61430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22053C-0E9C-4159-B7C9-6AB7434391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9149" y="550799"/>
            <a:ext cx="8283313" cy="5542025"/>
          </a:xfrm>
        </p:spPr>
        <p:txBody>
          <a:bodyPr vert="horz" wrap="square" lIns="0" tIns="0" rIns="0" bIns="0" rtlCol="0" anchor="ctr" anchorCtr="0">
            <a:normAutofit/>
          </a:bodyPr>
          <a:lstStyle>
            <a:lvl1pPr>
              <a:defRPr lang="en-US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4F51F65-E111-4656-83BE-CFCDE2DD6C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5BB40A-97BD-4BFB-B639-0BFF95FDE8B7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FF82CB-2D17-4918-821E-485475CF24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B66589D-A056-4817-AE15-39D87FE131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E489F067-39E1-4757-BC11-6169A343F2E1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-410727" y="3958416"/>
            <a:ext cx="3536330" cy="1853969"/>
          </a:xfrm>
          <a:custGeom>
            <a:avLst/>
            <a:gdLst>
              <a:gd name="connsiteX0" fmla="*/ 3536330 w 3536330"/>
              <a:gd name="connsiteY0" fmla="*/ 1853969 h 1853969"/>
              <a:gd name="connsiteX1" fmla="*/ 1682362 w 3536330"/>
              <a:gd name="connsiteY1" fmla="*/ 0 h 1853969"/>
              <a:gd name="connsiteX2" fmla="*/ 52157 w 3536330"/>
              <a:gd name="connsiteY2" fmla="*/ 970257 h 1853969"/>
              <a:gd name="connsiteX3" fmla="*/ 0 w 3536330"/>
              <a:gd name="connsiteY3" fmla="*/ 1078528 h 1853969"/>
              <a:gd name="connsiteX4" fmla="*/ 757215 w 3536330"/>
              <a:gd name="connsiteY4" fmla="*/ 1835743 h 1853969"/>
              <a:gd name="connsiteX5" fmla="*/ 774211 w 3536330"/>
              <a:gd name="connsiteY5" fmla="*/ 1667149 h 1853969"/>
              <a:gd name="connsiteX6" fmla="*/ 1682362 w 3536330"/>
              <a:gd name="connsiteY6" fmla="*/ 926985 h 1853969"/>
              <a:gd name="connsiteX7" fmla="*/ 2609345 w 3536330"/>
              <a:gd name="connsiteY7" fmla="*/ 1853969 h 1853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536330" h="1853969">
                <a:moveTo>
                  <a:pt x="3536330" y="1853969"/>
                </a:moveTo>
                <a:cubicBezTo>
                  <a:pt x="3536330" y="830051"/>
                  <a:pt x="2706280" y="0"/>
                  <a:pt x="1682362" y="0"/>
                </a:cubicBezTo>
                <a:cubicBezTo>
                  <a:pt x="978418" y="0"/>
                  <a:pt x="366107" y="392328"/>
                  <a:pt x="52157" y="970257"/>
                </a:cubicBezTo>
                <a:lnTo>
                  <a:pt x="0" y="1078528"/>
                </a:lnTo>
                <a:lnTo>
                  <a:pt x="757215" y="1835743"/>
                </a:lnTo>
                <a:lnTo>
                  <a:pt x="774211" y="1667149"/>
                </a:lnTo>
                <a:cubicBezTo>
                  <a:pt x="860649" y="1244739"/>
                  <a:pt x="1234397" y="926985"/>
                  <a:pt x="1682362" y="926985"/>
                </a:cubicBezTo>
                <a:cubicBezTo>
                  <a:pt x="2194320" y="926985"/>
                  <a:pt x="2609345" y="1342010"/>
                  <a:pt x="2609345" y="1853969"/>
                </a:cubicBezTo>
                <a:close/>
              </a:path>
            </a:pathLst>
          </a:custGeom>
          <a:gradFill flip="none" rotWithShape="1">
            <a:gsLst>
              <a:gs pos="97000">
                <a:schemeClr val="bg2"/>
              </a:gs>
              <a:gs pos="31000">
                <a:schemeClr val="bg2">
                  <a:lumMod val="90000"/>
                  <a:lumOff val="10000"/>
                </a:schemeClr>
              </a:gs>
            </a:gsLst>
            <a:lin ang="15000000" scaled="0"/>
            <a:tileRect/>
          </a:gradFill>
          <a:ln>
            <a:noFill/>
          </a:ln>
          <a:effectLst>
            <a:innerShdw blurRad="355600" dist="101600" dir="16200000">
              <a:schemeClr val="accent1">
                <a:lumMod val="60000"/>
                <a:lumOff val="40000"/>
                <a:alpha val="8000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DD231011-607F-42F1-B2D9-2BA8E91CC6AF}"/>
              </a:ext>
            </a:extLst>
          </p:cNvPr>
          <p:cNvSpPr>
            <a:spLocks noChangeAspect="1"/>
          </p:cNvSpPr>
          <p:nvPr/>
        </p:nvSpPr>
        <p:spPr>
          <a:xfrm rot="18900000" flipV="1">
            <a:off x="-481151" y="3649708"/>
            <a:ext cx="3478701" cy="2164843"/>
          </a:xfrm>
          <a:custGeom>
            <a:avLst/>
            <a:gdLst>
              <a:gd name="connsiteX0" fmla="*/ 3478701 w 3478701"/>
              <a:gd name="connsiteY0" fmla="*/ 2164843 h 2164843"/>
              <a:gd name="connsiteX1" fmla="*/ 1624733 w 3478701"/>
              <a:gd name="connsiteY1" fmla="*/ 0 h 2164843"/>
              <a:gd name="connsiteX2" fmla="*/ 87393 w 3478701"/>
              <a:gd name="connsiteY2" fmla="*/ 954459 h 2164843"/>
              <a:gd name="connsiteX3" fmla="*/ 0 w 3478701"/>
              <a:gd name="connsiteY3" fmla="*/ 1122434 h 2164843"/>
              <a:gd name="connsiteX4" fmla="*/ 736015 w 3478701"/>
              <a:gd name="connsiteY4" fmla="*/ 1858449 h 2164843"/>
              <a:gd name="connsiteX5" fmla="*/ 739424 w 3478701"/>
              <a:gd name="connsiteY5" fmla="*/ 1842964 h 2164843"/>
              <a:gd name="connsiteX6" fmla="*/ 1624733 w 3478701"/>
              <a:gd name="connsiteY6" fmla="*/ 1082422 h 2164843"/>
              <a:gd name="connsiteX7" fmla="*/ 2551716 w 3478701"/>
              <a:gd name="connsiteY7" fmla="*/ 2164843 h 21648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78701" h="2164843">
                <a:moveTo>
                  <a:pt x="3478701" y="2164843"/>
                </a:moveTo>
                <a:cubicBezTo>
                  <a:pt x="3478701" y="969234"/>
                  <a:pt x="2648651" y="0"/>
                  <a:pt x="1624733" y="0"/>
                </a:cubicBezTo>
                <a:cubicBezTo>
                  <a:pt x="984784" y="0"/>
                  <a:pt x="420564" y="378607"/>
                  <a:pt x="87393" y="954459"/>
                </a:cubicBezTo>
                <a:lnTo>
                  <a:pt x="0" y="1122434"/>
                </a:lnTo>
                <a:lnTo>
                  <a:pt x="736015" y="1858449"/>
                </a:lnTo>
                <a:lnTo>
                  <a:pt x="739424" y="1842964"/>
                </a:lnTo>
                <a:cubicBezTo>
                  <a:pt x="856791" y="1402344"/>
                  <a:pt x="1208766" y="1082422"/>
                  <a:pt x="1624733" y="1082422"/>
                </a:cubicBezTo>
                <a:cubicBezTo>
                  <a:pt x="2136692" y="1082422"/>
                  <a:pt x="2551716" y="1567038"/>
                  <a:pt x="2551716" y="2164843"/>
                </a:cubicBezTo>
                <a:close/>
              </a:path>
            </a:pathLst>
          </a:custGeom>
          <a:solidFill>
            <a:schemeClr val="bg2">
              <a:lumMod val="50000"/>
              <a:lumOff val="50000"/>
              <a:alpha val="40000"/>
            </a:schemeClr>
          </a:solidFill>
          <a:ln>
            <a:noFill/>
          </a:ln>
          <a:effectLst>
            <a:softEdge rad="381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EC472EFA-56B5-4A41-8D4B-E9F37727F34D}"/>
              </a:ext>
            </a:extLst>
          </p:cNvPr>
          <p:cNvSpPr/>
          <p:nvPr/>
        </p:nvSpPr>
        <p:spPr>
          <a:xfrm rot="13500000" flipV="1">
            <a:off x="1512277" y="2840042"/>
            <a:ext cx="214196" cy="933178"/>
          </a:xfrm>
          <a:prstGeom prst="ellipse">
            <a:avLst/>
          </a:prstGeom>
          <a:solidFill>
            <a:schemeClr val="bg2">
              <a:lumMod val="90000"/>
              <a:lumOff val="10000"/>
            </a:schemeClr>
          </a:solidFill>
          <a:ln>
            <a:noFill/>
          </a:ln>
          <a:effectLst>
            <a:innerShdw blurRad="1270000" dist="2540000">
              <a:schemeClr val="accent1">
                <a:lumMod val="60000"/>
                <a:lumOff val="40000"/>
                <a:alpha val="0"/>
              </a:scheme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3781B6C-21AD-489D-A3CB-522BB2AC543F}"/>
              </a:ext>
            </a:extLst>
          </p:cNvPr>
          <p:cNvSpPr>
            <a:spLocks noChangeAspect="1"/>
          </p:cNvSpPr>
          <p:nvPr/>
        </p:nvSpPr>
        <p:spPr>
          <a:xfrm>
            <a:off x="1780661" y="385236"/>
            <a:ext cx="1080000" cy="1080000"/>
          </a:xfrm>
          <a:prstGeom prst="ellipse">
            <a:avLst/>
          </a:prstGeom>
          <a:gradFill flip="none" rotWithShape="1">
            <a:gsLst>
              <a:gs pos="100000">
                <a:schemeClr val="bg2">
                  <a:lumMod val="50000"/>
                  <a:lumOff val="50000"/>
                </a:schemeClr>
              </a:gs>
              <a:gs pos="60000">
                <a:schemeClr val="bg2">
                  <a:lumMod val="10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  <a:effectLst>
            <a:innerShdw blurRad="254000" dist="127000" dir="2700000">
              <a:schemeClr val="accent1">
                <a:lumMod val="60000"/>
                <a:lumOff val="40000"/>
                <a:alpha val="40000"/>
              </a:schemeClr>
            </a:innerShdw>
            <a:softEdge rad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01AD5B80-530E-44CD-8D4A-2796FB214CBF}"/>
              </a:ext>
            </a:extLst>
          </p:cNvPr>
          <p:cNvGrpSpPr/>
          <p:nvPr/>
        </p:nvGrpSpPr>
        <p:grpSpPr>
          <a:xfrm>
            <a:off x="623181" y="1514007"/>
            <a:ext cx="734257" cy="760506"/>
            <a:chOff x="5243759" y="1363788"/>
            <a:chExt cx="734257" cy="760506"/>
          </a:xfrm>
        </p:grpSpPr>
        <p:sp>
          <p:nvSpPr>
            <p:cNvPr id="52" name="Freeform 5">
              <a:extLst>
                <a:ext uri="{FF2B5EF4-FFF2-40B4-BE49-F238E27FC236}">
                  <a16:creationId xmlns:a16="http://schemas.microsoft.com/office/drawing/2014/main" id="{2F746AA8-9050-4515-9B17-BC8503685299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356930" y="1363788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3" name="Freeform 6">
              <a:extLst>
                <a:ext uri="{FF2B5EF4-FFF2-40B4-BE49-F238E27FC236}">
                  <a16:creationId xmlns:a16="http://schemas.microsoft.com/office/drawing/2014/main" id="{23EC1AC3-1698-46D5-80B7-F22F15E1A5E4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243759" y="1430747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54" name="Freeform 8">
              <a:extLst>
                <a:ext uri="{FF2B5EF4-FFF2-40B4-BE49-F238E27FC236}">
                  <a16:creationId xmlns:a16="http://schemas.microsoft.com/office/drawing/2014/main" id="{73766156-553C-46EB-93FA-4F37CC0FF5CF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508097" y="1586019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accent1">
                  <a:lumMod val="60000"/>
                  <a:lumOff val="40000"/>
                  <a:alpha val="6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8622605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rget diagram og tekst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ckground white">
            <a:extLst>
              <a:ext uri="{FF2B5EF4-FFF2-40B4-BE49-F238E27FC236}">
                <a16:creationId xmlns:a16="http://schemas.microsoft.com/office/drawing/2014/main" id="{17C4EACD-0718-48D6-9B7E-75F7669425B6}"/>
              </a:ext>
            </a:extLst>
          </p:cNvPr>
          <p:cNvSpPr/>
          <p:nvPr userDrawn="1"/>
        </p:nvSpPr>
        <p:spPr bwMode="auto">
          <a:xfrm flipH="1">
            <a:off x="6696000" y="0"/>
            <a:ext cx="5495999" cy="6858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E5AECD3-5BCF-473C-8BAB-C48DDDF20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04112" y="772844"/>
            <a:ext cx="4165887" cy="1764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, maks. 4 linj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8" hasCustomPrompt="1"/>
          </p:nvPr>
        </p:nvSpPr>
        <p:spPr>
          <a:xfrm>
            <a:off x="520699" y="773113"/>
            <a:ext cx="5575301" cy="5176837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nb-NO"/>
              <a:t>Klikk for å legge til grafikk eller illustrasjon 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  <a:p>
            <a:pPr lvl="5"/>
            <a:r>
              <a:rPr lang="nb-NO"/>
              <a:t>6</a:t>
            </a:r>
          </a:p>
          <a:p>
            <a:pPr lvl="6"/>
            <a:r>
              <a:rPr lang="nb-NO"/>
              <a:t>7</a:t>
            </a:r>
          </a:p>
          <a:p>
            <a:pPr lvl="7"/>
            <a:r>
              <a:rPr lang="nb-NO"/>
              <a:t>8</a:t>
            </a:r>
          </a:p>
          <a:p>
            <a:pPr lvl="8"/>
            <a:r>
              <a:rPr lang="nb-NO"/>
              <a:t>9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7504112" y="2768400"/>
            <a:ext cx="4165601" cy="31815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</a:t>
            </a:r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  <a:p>
            <a:pPr lvl="3"/>
            <a:r>
              <a:rPr lang="nb-NO"/>
              <a:t>Fourth level</a:t>
            </a:r>
          </a:p>
          <a:p>
            <a:pPr lvl="4"/>
            <a:r>
              <a:rPr lang="nb-NO"/>
              <a:t>Fifth level</a:t>
            </a:r>
          </a:p>
        </p:txBody>
      </p:sp>
      <p:pic>
        <p:nvPicPr>
          <p:cNvPr id="15" name="Logo firm" descr="A picture containing drawing&#10;&#10;Description automatically generated">
            <a:extLst>
              <a:ext uri="{FF2B5EF4-FFF2-40B4-BE49-F238E27FC236}">
                <a16:creationId xmlns:a16="http://schemas.microsoft.com/office/drawing/2014/main" id="{3A580EC4-F640-45E6-9E6D-E1232B971F3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14" name="MarkerTop">
            <a:extLst>
              <a:ext uri="{FF2B5EF4-FFF2-40B4-BE49-F238E27FC236}">
                <a16:creationId xmlns:a16="http://schemas.microsoft.com/office/drawing/2014/main" id="{053235A6-1A45-4459-B0FB-1F674201CE2E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16" name="MarkerBottom">
            <a:extLst>
              <a:ext uri="{FF2B5EF4-FFF2-40B4-BE49-F238E27FC236}">
                <a16:creationId xmlns:a16="http://schemas.microsoft.com/office/drawing/2014/main" id="{1FD482AB-5CEC-4B88-A343-3AD4338D5DD7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bg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8A353DA-ABDB-452A-A1C1-27DD406B9831}"/>
              </a:ext>
            </a:extLst>
          </p:cNvPr>
          <p:cNvSpPr>
            <a:spLocks noGrp="1"/>
          </p:cNvSpPr>
          <p:nvPr>
            <p:ph type="dt" sz="half" idx="20"/>
          </p:nvPr>
        </p:nvSpPr>
        <p:spPr bwMode="white"/>
        <p:txBody>
          <a:bodyPr/>
          <a:lstStyle/>
          <a:p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6D08ED-CBBC-44BE-B525-01C5B8C48CF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 bwMode="white"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83F6BC-ABA2-4EF4-A929-C8E4DA418F3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C217FB3-B026-4C74-A3AC-E5476A02C006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til venstre: </a:t>
            </a:r>
            <a:r>
              <a:rPr lang="nb-NO" sz="1200"/>
              <a:t>Høyreklikk utenfor lysbildet, velg </a:t>
            </a:r>
            <a:r>
              <a:rPr lang="nb-NO" sz="1200" b="1"/>
              <a:t>Formater bakgrunn</a:t>
            </a:r>
            <a:r>
              <a:rPr lang="nb-NO" sz="1200"/>
              <a:t>, velg farge fra </a:t>
            </a:r>
            <a:r>
              <a:rPr lang="nb-NO" sz="1200" b="1"/>
              <a:t>Farge</a:t>
            </a:r>
            <a:r>
              <a:rPr lang="nb-NO" sz="1200"/>
              <a:t>. </a:t>
            </a:r>
            <a:endParaRPr kumimoji="0" lang="nb-NO" sz="1200" b="0" i="0" u="none" strike="noStrike" cap="none" normalizeH="0" baseline="0">
              <a:ln>
                <a:noFill/>
              </a:ln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21480103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D26A534-E5A8-4385-9399-1068238C3F01}"/>
              </a:ext>
            </a:extLst>
          </p:cNvPr>
          <p:cNvSpPr/>
          <p:nvPr userDrawn="1"/>
        </p:nvSpPr>
        <p:spPr>
          <a:xfrm>
            <a:off x="1052296" y="1904400"/>
            <a:ext cx="63316" cy="163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F1D909-5EDB-4E01-9F1A-0A2777454A9D}"/>
              </a:ext>
            </a:extLst>
          </p:cNvPr>
          <p:cNvSpPr/>
          <p:nvPr userDrawn="1"/>
        </p:nvSpPr>
        <p:spPr>
          <a:xfrm>
            <a:off x="1052296" y="4144881"/>
            <a:ext cx="63316" cy="163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latin typeface="Trebuchet MS" panose="020B0703020202090204" pitchFamily="34" charset="0"/>
            </a:endParaRPr>
          </a:p>
        </p:txBody>
      </p:sp>
      <p:sp>
        <p:nvSpPr>
          <p:cNvPr id="30" name="Rectangle 24">
            <a:extLst>
              <a:ext uri="{FF2B5EF4-FFF2-40B4-BE49-F238E27FC236}">
                <a16:creationId xmlns:a16="http://schemas.microsoft.com/office/drawing/2014/main" id="{1E1FCEE5-02B9-418C-AE04-28F9466A4B89}"/>
              </a:ext>
            </a:extLst>
          </p:cNvPr>
          <p:cNvSpPr/>
          <p:nvPr userDrawn="1"/>
        </p:nvSpPr>
        <p:spPr>
          <a:xfrm>
            <a:off x="6410622" y="1904400"/>
            <a:ext cx="63316" cy="163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74244813-779C-44B8-A2BB-27EACEC346F0}"/>
              </a:ext>
            </a:extLst>
          </p:cNvPr>
          <p:cNvSpPr/>
          <p:nvPr userDrawn="1"/>
        </p:nvSpPr>
        <p:spPr>
          <a:xfrm>
            <a:off x="6410622" y="4143862"/>
            <a:ext cx="63316" cy="1630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latin typeface="Trebuchet MS" panose="020B070302020209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8366BC-87AF-48DA-B63F-905EEFDB64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/>
              <a:t>Klikk for å legge til en tittel</a:t>
            </a: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F5284064-43C4-4066-A014-C7D08CA1B8F0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119176" y="1904400"/>
            <a:ext cx="1630800" cy="16308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A088707C-330A-4D6A-A3BB-6973B997B6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10833" y="1904569"/>
            <a:ext cx="2970141" cy="180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600" b="1" cap="all" spc="80" baseline="0"/>
            </a:lvl1pPr>
            <a:lvl2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200"/>
            </a:lvl3pPr>
            <a:lvl4pPr marL="0" indent="0">
              <a:buFontTx/>
              <a:buNone/>
              <a:defRPr sz="1100"/>
            </a:lvl4pPr>
            <a:lvl5pPr marL="0" indent="0">
              <a:buFontTx/>
              <a:buNone/>
              <a:defRPr sz="11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6" name="Picture Placeholder 42">
            <a:extLst>
              <a:ext uri="{FF2B5EF4-FFF2-40B4-BE49-F238E27FC236}">
                <a16:creationId xmlns:a16="http://schemas.microsoft.com/office/drawing/2014/main" id="{986DC55A-93FC-4829-B479-65F518EA5C06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119176" y="4150637"/>
            <a:ext cx="1630800" cy="16308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C6188B0A-A96B-47E4-87E1-77AD17D86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1949" y="4150637"/>
            <a:ext cx="2970141" cy="1799313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600" b="1" cap="all" spc="80" baseline="0"/>
            </a:lvl1pPr>
            <a:lvl2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200"/>
            </a:lvl3pPr>
            <a:lvl4pPr marL="0" indent="0">
              <a:defRPr sz="1100"/>
            </a:lvl4pPr>
            <a:lvl5pPr marL="0" indent="0">
              <a:defRPr sz="11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8" name="Picture Placeholder 42">
            <a:extLst>
              <a:ext uri="{FF2B5EF4-FFF2-40B4-BE49-F238E27FC236}">
                <a16:creationId xmlns:a16="http://schemas.microsoft.com/office/drawing/2014/main" id="{B665B955-B76D-4257-88A9-8E2A978FA6E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6473938" y="1904400"/>
            <a:ext cx="1630800" cy="16308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1600BFC5-4161-4725-83A0-15D8C136C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64908" y="1904400"/>
            <a:ext cx="2970000" cy="1800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600" b="1" cap="all" spc="80" baseline="0"/>
            </a:lvl1pPr>
            <a:lvl2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5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2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1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1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7" name="Picture Placeholder 42">
            <a:extLst>
              <a:ext uri="{FF2B5EF4-FFF2-40B4-BE49-F238E27FC236}">
                <a16:creationId xmlns:a16="http://schemas.microsoft.com/office/drawing/2014/main" id="{0D19C47F-A4F9-41D0-9E7F-748FC6B1CFB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6473938" y="4150637"/>
            <a:ext cx="1630800" cy="1630800"/>
          </a:xfrm>
        </p:spPr>
        <p:txBody>
          <a:bodyPr/>
          <a:lstStyle>
            <a:lvl1pPr marL="0" indent="0" algn="ctr">
              <a:buNone/>
              <a:defRPr sz="12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30D9DF6-ADAA-44CF-BB7A-367E0861C4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64908" y="4150636"/>
            <a:ext cx="2970000" cy="1799313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600" b="1" cap="all" spc="80" baseline="0"/>
            </a:lvl1pPr>
            <a:lvl2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3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200"/>
            </a:lvl3pPr>
            <a:lvl4pPr marL="0" indent="0">
              <a:buFont typeface="Arial" panose="020B0604020202020204" pitchFamily="34" charset="0"/>
              <a:buChar char="​"/>
              <a:defRPr sz="1200"/>
            </a:lvl4pPr>
            <a:lvl5pPr marL="0" indent="0">
              <a:buFont typeface="Arial" panose="020B0604020202020204" pitchFamily="34" charset="0"/>
              <a:buChar char="​"/>
              <a:defRPr sz="12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F93025-36CF-47D4-AA2B-61F2C2BDE6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50469-C71D-4FC8-A9FC-4DC93C225B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718D27-B9C4-491D-9227-64D0C2D2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851251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ks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366BC-87AF-48DA-B63F-905EEFDB64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/>
              <a:t>Klikk for å legge til en titt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7CB0C82-C00F-43CA-A793-2CBA0ACDACB8}"/>
              </a:ext>
            </a:extLst>
          </p:cNvPr>
          <p:cNvSpPr/>
          <p:nvPr userDrawn="1"/>
        </p:nvSpPr>
        <p:spPr>
          <a:xfrm>
            <a:off x="516498" y="1904569"/>
            <a:ext cx="45719" cy="12020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  <p:sp>
        <p:nvSpPr>
          <p:cNvPr id="16" name="Rectangle 24">
            <a:extLst>
              <a:ext uri="{FF2B5EF4-FFF2-40B4-BE49-F238E27FC236}">
                <a16:creationId xmlns:a16="http://schemas.microsoft.com/office/drawing/2014/main" id="{40D28544-6F7D-4DBB-88F7-17FCA5FF0F3E}"/>
              </a:ext>
            </a:extLst>
          </p:cNvPr>
          <p:cNvSpPr/>
          <p:nvPr userDrawn="1"/>
        </p:nvSpPr>
        <p:spPr>
          <a:xfrm>
            <a:off x="516498" y="4248000"/>
            <a:ext cx="45719" cy="12020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F5284064-43C4-4066-A014-C7D08CA1B8F0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60696" y="1904569"/>
            <a:ext cx="1202400" cy="1202400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A088707C-330A-4D6A-A3BB-6973B997B6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97063" y="1904569"/>
            <a:ext cx="2036762" cy="16992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cap="all" spc="8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100"/>
            </a:lvl3pPr>
            <a:lvl4pPr marL="0" indent="0">
              <a:buFontTx/>
              <a:buNone/>
              <a:defRPr sz="1100"/>
            </a:lvl4pPr>
            <a:lvl5pPr marL="0" indent="0">
              <a:buFontTx/>
              <a:buNone/>
              <a:defRPr sz="11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6" name="Picture Placeholder 42">
            <a:extLst>
              <a:ext uri="{FF2B5EF4-FFF2-40B4-BE49-F238E27FC236}">
                <a16:creationId xmlns:a16="http://schemas.microsoft.com/office/drawing/2014/main" id="{986DC55A-93FC-4829-B479-65F518EA5C06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60696" y="4249589"/>
            <a:ext cx="1202400" cy="1202400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C6188B0A-A96B-47E4-87E1-77AD17D86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97063" y="4249589"/>
            <a:ext cx="2036762" cy="1700361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cap="all" spc="8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100"/>
            </a:lvl3pPr>
            <a:lvl4pPr marL="0" indent="0">
              <a:defRPr sz="1100"/>
            </a:lvl4pPr>
            <a:lvl5pPr marL="0" indent="0">
              <a:defRPr sz="11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8" name="Picture Placeholder 42">
            <a:extLst>
              <a:ext uri="{FF2B5EF4-FFF2-40B4-BE49-F238E27FC236}">
                <a16:creationId xmlns:a16="http://schemas.microsoft.com/office/drawing/2014/main" id="{B665B955-B76D-4257-88A9-8E2A978FA6E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4427284" y="1904400"/>
            <a:ext cx="1202400" cy="1202400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1600BFC5-4161-4725-83A0-15D8C136C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64947" y="1907222"/>
            <a:ext cx="2037600" cy="16992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cap="all" spc="8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1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1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1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7" name="Picture Placeholder 42">
            <a:extLst>
              <a:ext uri="{FF2B5EF4-FFF2-40B4-BE49-F238E27FC236}">
                <a16:creationId xmlns:a16="http://schemas.microsoft.com/office/drawing/2014/main" id="{0D19C47F-A4F9-41D0-9E7F-748FC6B1CFB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4428000" y="4249589"/>
            <a:ext cx="1202400" cy="1202400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30D9DF6-ADAA-44CF-BB7A-367E0861C4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772429" y="4249589"/>
            <a:ext cx="2037600" cy="16992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cap="all" spc="8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100"/>
            </a:lvl3pPr>
            <a:lvl4pPr marL="0" indent="0">
              <a:buFont typeface="Arial" panose="020B0604020202020204" pitchFamily="34" charset="0"/>
              <a:buChar char="​"/>
              <a:defRPr sz="1200"/>
            </a:lvl4pPr>
            <a:lvl5pPr marL="0" indent="0">
              <a:buFont typeface="Arial" panose="020B0604020202020204" pitchFamily="34" charset="0"/>
              <a:buChar char="​"/>
              <a:defRPr sz="12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D50CC6C4-9A79-4BA4-8786-76ABBB1039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632322" y="1903411"/>
            <a:ext cx="2037600" cy="1696757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cap="all" spc="8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100"/>
            </a:lvl3pPr>
            <a:lvl4pPr marL="0" indent="0">
              <a:buFont typeface="Arial" panose="020B0604020202020204" pitchFamily="34" charset="0"/>
              <a:buChar char="​"/>
              <a:defRPr sz="1200"/>
            </a:lvl4pPr>
            <a:lvl5pPr marL="0" indent="0">
              <a:buFont typeface="Arial" panose="020B0604020202020204" pitchFamily="34" charset="0"/>
              <a:buChar char="​"/>
              <a:defRPr sz="12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F3C81F94-03DD-4920-AF8D-984685648E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32322" y="4248000"/>
            <a:ext cx="2043180" cy="170001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cap="all" spc="8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100"/>
            </a:lvl3pPr>
            <a:lvl4pPr marL="0" indent="0">
              <a:buFont typeface="Arial" panose="020B0604020202020204" pitchFamily="34" charset="0"/>
              <a:buChar char="​"/>
              <a:defRPr sz="1200"/>
            </a:lvl4pPr>
            <a:lvl5pPr marL="0" indent="0">
              <a:buFont typeface="Arial" panose="020B0604020202020204" pitchFamily="34" charset="0"/>
              <a:buChar char="​"/>
              <a:defRPr sz="1200"/>
            </a:lvl5pPr>
          </a:lstStyle>
          <a:p>
            <a:pPr lvl="0"/>
            <a:r>
              <a:rPr lang="nb-NO"/>
              <a:t>Sett inn </a:t>
            </a:r>
            <a:r>
              <a:rPr lang="nb-NO" err="1"/>
              <a:t>navn</a:t>
            </a:r>
            <a:endParaRPr lang="nb-NO"/>
          </a:p>
          <a:p>
            <a:pPr lvl="1"/>
            <a:r>
              <a:rPr lang="nb-NO"/>
              <a:t>Second level</a:t>
            </a:r>
          </a:p>
          <a:p>
            <a:pPr lvl="2"/>
            <a:r>
              <a:rPr lang="nb-NO"/>
              <a:t>Third level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AC3A90E-EC35-4325-BDCC-28D28A8F981D}"/>
              </a:ext>
            </a:extLst>
          </p:cNvPr>
          <p:cNvSpPr/>
          <p:nvPr userDrawn="1"/>
        </p:nvSpPr>
        <p:spPr>
          <a:xfrm>
            <a:off x="4383086" y="1904400"/>
            <a:ext cx="45719" cy="12020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  <p:sp>
        <p:nvSpPr>
          <p:cNvPr id="60" name="Rectangle 24">
            <a:extLst>
              <a:ext uri="{FF2B5EF4-FFF2-40B4-BE49-F238E27FC236}">
                <a16:creationId xmlns:a16="http://schemas.microsoft.com/office/drawing/2014/main" id="{48A87B7F-C6EC-4C6F-813E-F6490A107E74}"/>
              </a:ext>
            </a:extLst>
          </p:cNvPr>
          <p:cNvSpPr/>
          <p:nvPr userDrawn="1"/>
        </p:nvSpPr>
        <p:spPr>
          <a:xfrm>
            <a:off x="4384800" y="4249589"/>
            <a:ext cx="45719" cy="12020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F93025-36CF-47D4-AA2B-61F2C2BDE6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50469-C71D-4FC8-A9FC-4DC93C225B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718D27-B9C4-491D-9227-64D0C2D2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68" name="Picture Placeholder 42">
            <a:extLst>
              <a:ext uri="{FF2B5EF4-FFF2-40B4-BE49-F238E27FC236}">
                <a16:creationId xmlns:a16="http://schemas.microsoft.com/office/drawing/2014/main" id="{FAB1B8D1-8338-4553-B58F-F4E7055BFC9A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8283709" y="1906292"/>
            <a:ext cx="1202400" cy="1202400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69" name="Picture Placeholder 42">
            <a:extLst>
              <a:ext uri="{FF2B5EF4-FFF2-40B4-BE49-F238E27FC236}">
                <a16:creationId xmlns:a16="http://schemas.microsoft.com/office/drawing/2014/main" id="{BBE7EEBA-2968-4844-809F-42528DED74EE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8283600" y="4247502"/>
            <a:ext cx="1202400" cy="1202400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nb-NO" err="1"/>
              <a:t>Klikk</a:t>
            </a:r>
            <a:r>
              <a:rPr lang="nb-NO"/>
              <a:t> </a:t>
            </a:r>
            <a:r>
              <a:rPr lang="nb-NO" err="1"/>
              <a:t>på</a:t>
            </a:r>
            <a:r>
              <a:rPr lang="nb-NO"/>
              <a:t> </a:t>
            </a:r>
            <a:r>
              <a:rPr lang="nb-NO" err="1"/>
              <a:t>plassholderen</a:t>
            </a:r>
            <a:r>
              <a:rPr lang="nb-NO"/>
              <a:t> </a:t>
            </a:r>
            <a:r>
              <a:rPr lang="nb-NO" err="1"/>
              <a:t>og</a:t>
            </a:r>
            <a:r>
              <a:rPr lang="nb-NO"/>
              <a:t> sett inn </a:t>
            </a:r>
            <a:r>
              <a:rPr lang="nb-NO" err="1"/>
              <a:t>bilde</a:t>
            </a:r>
            <a:r>
              <a:rPr lang="nb-NO"/>
              <a:t> via </a:t>
            </a:r>
            <a:r>
              <a:rPr lang="nb-NO" err="1"/>
              <a:t>BrandMaster</a:t>
            </a:r>
            <a:r>
              <a:rPr lang="nb-NO"/>
              <a:t>.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40FAAA07-A720-49F4-943E-2840E70A805D}"/>
              </a:ext>
            </a:extLst>
          </p:cNvPr>
          <p:cNvSpPr/>
          <p:nvPr userDrawn="1"/>
        </p:nvSpPr>
        <p:spPr>
          <a:xfrm>
            <a:off x="8239511" y="1904400"/>
            <a:ext cx="45719" cy="12020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  <p:sp>
        <p:nvSpPr>
          <p:cNvPr id="71" name="Rectangle 24">
            <a:extLst>
              <a:ext uri="{FF2B5EF4-FFF2-40B4-BE49-F238E27FC236}">
                <a16:creationId xmlns:a16="http://schemas.microsoft.com/office/drawing/2014/main" id="{36538D29-0027-4EC4-AE68-7F56E4BB79FC}"/>
              </a:ext>
            </a:extLst>
          </p:cNvPr>
          <p:cNvSpPr/>
          <p:nvPr userDrawn="1"/>
        </p:nvSpPr>
        <p:spPr>
          <a:xfrm>
            <a:off x="8240400" y="4247502"/>
            <a:ext cx="45719" cy="1202057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>
              <a:solidFill>
                <a:srgbClr val="FF0000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818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Åtte team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366BC-87AF-48DA-B63F-905EEFDB64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2006" y="772844"/>
            <a:ext cx="11147994" cy="864000"/>
          </a:xfrm>
        </p:spPr>
        <p:txBody>
          <a:bodyPr/>
          <a:lstStyle/>
          <a:p>
            <a:r>
              <a:rPr lang="nb-NO" noProof="0"/>
              <a:t>Klikk for å legge til en tittel</a:t>
            </a:r>
            <a:endParaRPr lang="nb-NO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F5284064-43C4-4066-A014-C7D08CA1B8F0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60696" y="1903411"/>
            <a:ext cx="1003884" cy="1003884"/>
          </a:xfrm>
          <a:noFill/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A088707C-330A-4D6A-A3BB-6973B997B6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80296" y="1904400"/>
            <a:ext cx="1504800" cy="176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0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000"/>
            </a:lvl3pPr>
            <a:lvl4pPr marL="0" indent="0">
              <a:buFontTx/>
              <a:buNone/>
              <a:defRPr sz="1100"/>
            </a:lvl4pPr>
            <a:lvl5pPr marL="0" indent="0">
              <a:buFontTx/>
              <a:buNone/>
              <a:defRPr sz="1100"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56" name="Picture Placeholder 42">
            <a:extLst>
              <a:ext uri="{FF2B5EF4-FFF2-40B4-BE49-F238E27FC236}">
                <a16:creationId xmlns:a16="http://schemas.microsoft.com/office/drawing/2014/main" id="{986DC55A-93FC-4829-B479-65F518EA5C06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60696" y="4191221"/>
            <a:ext cx="1004400" cy="1004400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C6188B0A-A96B-47E4-87E1-77AD17D86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80297" y="4191220"/>
            <a:ext cx="1531341" cy="176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000"/>
            </a:lvl3pPr>
            <a:lvl4pPr marL="0" indent="0">
              <a:defRPr sz="1100"/>
            </a:lvl4pPr>
            <a:lvl5pPr marL="0" indent="0">
              <a:defRPr sz="1100"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58" name="Picture Placeholder 42">
            <a:extLst>
              <a:ext uri="{FF2B5EF4-FFF2-40B4-BE49-F238E27FC236}">
                <a16:creationId xmlns:a16="http://schemas.microsoft.com/office/drawing/2014/main" id="{B665B955-B76D-4257-88A9-8E2A978FA6E4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386003" y="1903411"/>
            <a:ext cx="1004400" cy="1004400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1600BFC5-4161-4725-83A0-15D8C136CAF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09565" y="1904400"/>
            <a:ext cx="1504800" cy="176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5"/>
                </a:solidFill>
              </a:defRPr>
            </a:lvl2pPr>
            <a:lvl3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000"/>
            </a:lvl3pPr>
            <a:lvl4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100"/>
            </a:lvl4pPr>
            <a:lvl5pPr marL="0" indent="0">
              <a:spcBef>
                <a:spcPts val="600"/>
              </a:spcBef>
              <a:buFont typeface="Arial" panose="020B0604020202020204" pitchFamily="34" charset="0"/>
              <a:buChar char="​"/>
              <a:defRPr sz="1100"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57" name="Picture Placeholder 42">
            <a:extLst>
              <a:ext uri="{FF2B5EF4-FFF2-40B4-BE49-F238E27FC236}">
                <a16:creationId xmlns:a16="http://schemas.microsoft.com/office/drawing/2014/main" id="{0D19C47F-A4F9-41D0-9E7F-748FC6B1CFBD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3386003" y="4191221"/>
            <a:ext cx="1004400" cy="1004400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F30D9DF6-ADAA-44CF-BB7A-367E0861C43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09565" y="4191220"/>
            <a:ext cx="1504438" cy="176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000"/>
            </a:lvl3pPr>
            <a:lvl4pPr marL="0" indent="0">
              <a:buFont typeface="Arial" panose="020B0604020202020204" pitchFamily="34" charset="0"/>
              <a:buChar char="​"/>
              <a:defRPr sz="1200"/>
            </a:lvl4pPr>
            <a:lvl5pPr marL="0" indent="0">
              <a:buFont typeface="Arial" panose="020B0604020202020204" pitchFamily="34" charset="0"/>
              <a:buChar char="​"/>
              <a:defRPr sz="1200"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D50CC6C4-9A79-4BA4-8786-76ABBB1039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323499" y="1904400"/>
            <a:ext cx="1504800" cy="176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000"/>
            </a:lvl3pPr>
            <a:lvl4pPr marL="0" indent="0">
              <a:buFont typeface="Arial" panose="020B0604020202020204" pitchFamily="34" charset="0"/>
              <a:buChar char="​"/>
              <a:defRPr sz="1200"/>
            </a:lvl4pPr>
            <a:lvl5pPr marL="0" indent="0">
              <a:buFont typeface="Arial" panose="020B0604020202020204" pitchFamily="34" charset="0"/>
              <a:buChar char="​"/>
              <a:defRPr sz="1200"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F3C81F94-03DD-4920-AF8D-984685648E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23499" y="4191220"/>
            <a:ext cx="1504800" cy="176400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000"/>
            </a:lvl3pPr>
            <a:lvl4pPr marL="0" indent="0">
              <a:buFont typeface="Arial" panose="020B0604020202020204" pitchFamily="34" charset="0"/>
              <a:buChar char="​"/>
              <a:defRPr sz="1200"/>
            </a:lvl4pPr>
            <a:lvl5pPr marL="0" indent="0">
              <a:buFont typeface="Arial" panose="020B0604020202020204" pitchFamily="34" charset="0"/>
              <a:buChar char="​"/>
              <a:defRPr sz="1200"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F93025-36CF-47D4-AA2B-61F2C2BDE63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50469-C71D-4FC8-A9FC-4DC93C225BC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C718D27-B9C4-491D-9227-64D0C2D2BE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9B6BB-2231-443D-A106-476177BA91F4}" type="slidenum">
              <a:rPr lang="nb-NO" noProof="0" smtClean="0"/>
              <a:pPr/>
              <a:t>‹#›</a:t>
            </a:fld>
            <a:endParaRPr lang="nb-NO" noProof="0"/>
          </a:p>
        </p:txBody>
      </p:sp>
      <p:sp>
        <p:nvSpPr>
          <p:cNvPr id="68" name="Picture Placeholder 42">
            <a:extLst>
              <a:ext uri="{FF2B5EF4-FFF2-40B4-BE49-F238E27FC236}">
                <a16:creationId xmlns:a16="http://schemas.microsoft.com/office/drawing/2014/main" id="{FAB1B8D1-8338-4553-B58F-F4E7055BFC9A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6208295" y="1903411"/>
            <a:ext cx="1004400" cy="1004400"/>
          </a:xfrm>
          <a:noFill/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  <p:sp>
        <p:nvSpPr>
          <p:cNvPr id="69" name="Picture Placeholder 42">
            <a:extLst>
              <a:ext uri="{FF2B5EF4-FFF2-40B4-BE49-F238E27FC236}">
                <a16:creationId xmlns:a16="http://schemas.microsoft.com/office/drawing/2014/main" id="{BBE7EEBA-2968-4844-809F-42528DED74EE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208295" y="4191220"/>
            <a:ext cx="1004400" cy="1004400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90B6C74-40B9-47AD-B590-F351C40BA13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165200" y="1904400"/>
            <a:ext cx="1504800" cy="1764000"/>
          </a:xfrm>
        </p:spPr>
        <p:txBody>
          <a:bodyPr/>
          <a:lstStyle>
            <a:lvl1pPr marL="0" indent="0">
              <a:buClrTx/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000"/>
            </a:lvl3pPr>
            <a:lvl4pPr marL="0" indent="0">
              <a:defRPr sz="1000"/>
            </a:lvl4pPr>
            <a:lvl5pPr marL="0" indent="0">
              <a:defRPr sz="1000"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8340FDF-5AA9-4FD4-9408-CE8958AAAC2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165200" y="4191220"/>
            <a:ext cx="1504799" cy="1758729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 cap="all" spc="50" baseline="0"/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100" b="1">
                <a:solidFill>
                  <a:schemeClr val="accent5"/>
                </a:solidFill>
              </a:defRPr>
            </a:lvl2pPr>
            <a:lvl3pPr marL="0" indent="0">
              <a:buFont typeface="Arial" panose="020B0604020202020204" pitchFamily="34" charset="0"/>
              <a:buChar char="​"/>
              <a:defRPr sz="1000"/>
            </a:lvl3pPr>
            <a:lvl4pPr marL="0" indent="0">
              <a:buFont typeface="Arial" panose="020B0604020202020204" pitchFamily="34" charset="0"/>
              <a:buChar char="​"/>
              <a:defRPr/>
            </a:lvl4pPr>
            <a:lvl5pPr marL="0" indent="0">
              <a:buFont typeface="Arial" panose="020B0604020202020204" pitchFamily="34" charset="0"/>
              <a:buChar char="​"/>
              <a:defRPr/>
            </a:lvl5pPr>
          </a:lstStyle>
          <a:p>
            <a:pPr lvl="0"/>
            <a:r>
              <a:rPr lang="nb-NO" noProof="0"/>
              <a:t>Sett inn navn</a:t>
            </a:r>
            <a:endParaRPr lang="nb-NO"/>
          </a:p>
          <a:p>
            <a:pPr lvl="1"/>
            <a:r>
              <a:rPr lang="nb-NO" noProof="0"/>
              <a:t>Second level</a:t>
            </a:r>
            <a:endParaRPr lang="nb-NO"/>
          </a:p>
          <a:p>
            <a:pPr lvl="2"/>
            <a:r>
              <a:rPr lang="nb-NO" noProof="0"/>
              <a:t>Third level</a:t>
            </a:r>
            <a:endParaRPr lang="nb-NO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11B7FDA-247C-4AB1-91BE-B3876342186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0003" y="1903411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noFill/>
              </a:defRPr>
            </a:lvl1pPr>
          </a:lstStyle>
          <a:p>
            <a:pPr lvl="0"/>
            <a:r>
              <a:rPr lang="nb-NO" noProof="0"/>
              <a:t>.</a:t>
            </a:r>
            <a:endParaRPr lang="nb-NO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B76036-7067-4BCF-BD1E-F3D00CB754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0003" y="4191221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noProof="0"/>
              <a:t>,</a:t>
            </a:r>
            <a:endParaRPr lang="nb-NO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1B59D224-14AC-4714-9BA9-2447D8F07FF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350003" y="1903411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noProof="0"/>
              <a:t>.</a:t>
            </a:r>
            <a:endParaRPr lang="nb-NO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87FB3D6-ECA4-4C7F-813F-A79697EA37E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372823" y="4191220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noProof="0"/>
              <a:t>.</a:t>
            </a:r>
            <a:endParaRPr lang="nb-NO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9E25100A-7C05-4387-B51B-47586024E6C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178001" y="1903411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noProof="0"/>
              <a:t>.</a:t>
            </a:r>
            <a:endParaRPr lang="nb-NO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DB2963B-FA58-4C0C-8261-4165EB46F33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78001" y="4191221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noProof="0"/>
              <a:t>.</a:t>
            </a:r>
            <a:endParaRPr lang="nb-NO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D37CC14-2966-4B0E-95C7-484E5B4E2E50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011594" y="1903411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noProof="0"/>
              <a:t>.</a:t>
            </a:r>
            <a:endParaRPr lang="nb-NO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0F6E419D-2533-402F-A843-96B1DDCB69B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011594" y="4191221"/>
            <a:ext cx="36000" cy="1004400"/>
          </a:xfrm>
          <a:solidFill>
            <a:schemeClr val="accent5"/>
          </a:solidFill>
        </p:spPr>
        <p:txBody>
          <a:bodyPr/>
          <a:lstStyle>
            <a:lvl1pPr marL="0" indent="0">
              <a:buNone/>
              <a:defRPr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noProof="0"/>
              <a:t>.</a:t>
            </a:r>
            <a:endParaRPr lang="nb-NO"/>
          </a:p>
        </p:txBody>
      </p:sp>
      <p:sp>
        <p:nvSpPr>
          <p:cNvPr id="63" name="Picture Placeholder 42">
            <a:extLst>
              <a:ext uri="{FF2B5EF4-FFF2-40B4-BE49-F238E27FC236}">
                <a16:creationId xmlns:a16="http://schemas.microsoft.com/office/drawing/2014/main" id="{BCE7D780-392C-4CB6-B372-6053080B3F80}"/>
              </a:ext>
            </a:extLst>
          </p:cNvPr>
          <p:cNvSpPr>
            <a:spLocks noGrp="1" noChangeAspect="1"/>
          </p:cNvSpPr>
          <p:nvPr>
            <p:ph type="pic" sz="quarter" idx="37" hasCustomPrompt="1"/>
          </p:nvPr>
        </p:nvSpPr>
        <p:spPr>
          <a:xfrm>
            <a:off x="9046800" y="1903411"/>
            <a:ext cx="1004400" cy="1004400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  <p:sp>
        <p:nvSpPr>
          <p:cNvPr id="64" name="Picture Placeholder 42">
            <a:extLst>
              <a:ext uri="{FF2B5EF4-FFF2-40B4-BE49-F238E27FC236}">
                <a16:creationId xmlns:a16="http://schemas.microsoft.com/office/drawing/2014/main" id="{99D5E669-33A8-494B-968B-5FCA77984459}"/>
              </a:ext>
            </a:extLst>
          </p:cNvPr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9046800" y="4191221"/>
            <a:ext cx="1004400" cy="1004400"/>
          </a:xfrm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nb-NO" noProof="0"/>
              <a:t>Klikk på plassholderen og sett inn bilde via BrandMaster.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81928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 og bildebakgrun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verlay">
            <a:extLst>
              <a:ext uri="{FF2B5EF4-FFF2-40B4-BE49-F238E27FC236}">
                <a16:creationId xmlns:a16="http://schemas.microsoft.com/office/drawing/2014/main" id="{9E5538FD-3D99-4894-BD11-653950075D0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0" y="0"/>
            <a:ext cx="12192000" cy="6858000"/>
          </a:xfrm>
          <a:solidFill>
            <a:schemeClr val="bg2">
              <a:alpha val="60000"/>
            </a:schemeClr>
          </a:solidFill>
        </p:spPr>
        <p:txBody>
          <a:bodyPr anchor="b" anchorCtr="0"/>
          <a:lstStyle>
            <a:lvl1pPr marL="0" indent="0">
              <a:buFontTx/>
              <a:buNone/>
              <a:defRPr sz="100">
                <a:noFill/>
              </a:defRPr>
            </a:lvl1pPr>
            <a:lvl2pPr marL="4680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9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792000" indent="0">
              <a:buFontTx/>
              <a:buNone/>
              <a:defRPr>
                <a:solidFill>
                  <a:schemeClr val="bg1"/>
                </a:solidFill>
              </a:defRPr>
            </a:lvl4pPr>
            <a:lvl5pPr marL="7920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Disclaimer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A235ED25-5EA7-40DA-AEE7-5B98221152B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6858000"/>
          </a:xfrm>
          <a:prstGeom prst="rect">
            <a:avLst/>
          </a:prstGeom>
          <a:noFill/>
        </p:spPr>
        <p:txBody>
          <a:bodyPr lIns="2880000" tIns="72000" rIns="2880000" bIns="0" anchor="t" anchorCtr="0"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</a:lstStyle>
          <a:p>
            <a:r>
              <a:rPr lang="nb-NO"/>
              <a:t>Klikk på plassholderen og sett inn bilde via BrandMaster. For å få fargefilter på bildet, høyreklikk på innsatt bilde og velg Plasser lengst bak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3127EE1-5C82-492E-A9B2-2CFC52EAF6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0" name="Marker bottom TP22">
            <a:extLst>
              <a:ext uri="{FF2B5EF4-FFF2-40B4-BE49-F238E27FC236}">
                <a16:creationId xmlns:a16="http://schemas.microsoft.com/office/drawing/2014/main" id="{13EA9828-474D-489D-BBF2-217721F4A7D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788400" y="6293236"/>
            <a:ext cx="169200" cy="564762"/>
          </a:xfrm>
          <a:custGeom>
            <a:avLst/>
            <a:gdLst>
              <a:gd name="connsiteX0" fmla="*/ 169200 w 169200"/>
              <a:gd name="connsiteY0" fmla="*/ 0 h 564762"/>
              <a:gd name="connsiteX1" fmla="*/ 169200 w 169200"/>
              <a:gd name="connsiteY1" fmla="*/ 564762 h 564762"/>
              <a:gd name="connsiteX2" fmla="*/ 0 w 169200"/>
              <a:gd name="connsiteY2" fmla="*/ 564762 h 564762"/>
              <a:gd name="connsiteX3" fmla="*/ 0 w 169200"/>
              <a:gd name="connsiteY3" fmla="*/ 119974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169200" y="0"/>
                </a:moveTo>
                <a:lnTo>
                  <a:pt x="169200" y="564762"/>
                </a:lnTo>
                <a:lnTo>
                  <a:pt x="0" y="564762"/>
                </a:lnTo>
                <a:lnTo>
                  <a:pt x="0" y="11997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  <a:lvl2pPr marL="252000" indent="0">
              <a:buNone/>
              <a:defRPr/>
            </a:lvl2pPr>
            <a:lvl3pPr marL="468000" indent="0">
              <a:buNone/>
              <a:defRPr/>
            </a:lvl3pPr>
            <a:lvl4pPr marL="648000" indent="0"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1" name="Marker top TP18">
            <a:extLst>
              <a:ext uri="{FF2B5EF4-FFF2-40B4-BE49-F238E27FC236}">
                <a16:creationId xmlns:a16="http://schemas.microsoft.com/office/drawing/2014/main" id="{997795E1-1083-4CF4-8360-AEEF0AC49DA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788400" y="0"/>
            <a:ext cx="169200" cy="564762"/>
          </a:xfrm>
          <a:custGeom>
            <a:avLst/>
            <a:gdLst>
              <a:gd name="connsiteX0" fmla="*/ 0 w 169200"/>
              <a:gd name="connsiteY0" fmla="*/ 0 h 564762"/>
              <a:gd name="connsiteX1" fmla="*/ 169200 w 169200"/>
              <a:gd name="connsiteY1" fmla="*/ 0 h 564762"/>
              <a:gd name="connsiteX2" fmla="*/ 169200 w 169200"/>
              <a:gd name="connsiteY2" fmla="*/ 444788 h 564762"/>
              <a:gd name="connsiteX3" fmla="*/ 0 w 169200"/>
              <a:gd name="connsiteY3" fmla="*/ 564762 h 564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200" h="564762">
                <a:moveTo>
                  <a:pt x="0" y="0"/>
                </a:moveTo>
                <a:lnTo>
                  <a:pt x="169200" y="0"/>
                </a:lnTo>
                <a:lnTo>
                  <a:pt x="169200" y="444788"/>
                </a:lnTo>
                <a:lnTo>
                  <a:pt x="0" y="564762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E104166-EF4C-480A-9FEF-94508D0D3AC2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AC95F0E2-DE24-406A-A63C-3F814581CAF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4E1F82B5-D030-4CC5-92C0-E55FB27315D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Logo firm TP">
            <a:extLst>
              <a:ext uri="{FF2B5EF4-FFF2-40B4-BE49-F238E27FC236}">
                <a16:creationId xmlns:a16="http://schemas.microsoft.com/office/drawing/2014/main" id="{B11D762C-C768-4C33-A122-34A5BBF9701C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0823384" y="6308395"/>
            <a:ext cx="848992" cy="326093"/>
          </a:xfrm>
          <a:blipFill>
            <a:blip r:embed="rId2"/>
            <a:stretch>
              <a:fillRect t="-2" b="-2"/>
            </a:stretch>
          </a:blipFill>
        </p:spPr>
        <p:txBody>
          <a:bodyPr/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683E325-E7A9-4683-86F3-1279A53058D6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For å få fargefilter på bildet: 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Sett inn bilde først, høyreklikk på 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Plasser lengst bak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 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891449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3F33599-0A69-4FD9-B7DE-E6D2A38B75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6C72A-CF65-4482-B3D2-B7D2C48B6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577CB4A-1E7E-498C-94C4-7D1163062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37A3EC-0E6C-43B9-8EEC-06F112EE3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649210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ing, Charcoal bakgrunn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B3F33599-0A69-4FD9-B7DE-E6D2A38B75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legge til en titt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806C72A-CF65-4482-B3D2-B7D2C48B6A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577CB4A-1E7E-498C-94C4-7D11630625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37A3EC-0E6C-43B9-8EEC-06F112EE3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MarkerTop">
            <a:extLst>
              <a:ext uri="{FF2B5EF4-FFF2-40B4-BE49-F238E27FC236}">
                <a16:creationId xmlns:a16="http://schemas.microsoft.com/office/drawing/2014/main" id="{ACC1AA73-6971-4BCA-91CF-58FD548C04CD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pic>
        <p:nvPicPr>
          <p:cNvPr id="10" name="Logo firm">
            <a:extLst>
              <a:ext uri="{FF2B5EF4-FFF2-40B4-BE49-F238E27FC236}">
                <a16:creationId xmlns:a16="http://schemas.microsoft.com/office/drawing/2014/main" id="{36C3A43C-178F-4278-A490-47B2CD60C8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12" name="MarkerBottom">
            <a:extLst>
              <a:ext uri="{FF2B5EF4-FFF2-40B4-BE49-F238E27FC236}">
                <a16:creationId xmlns:a16="http://schemas.microsoft.com/office/drawing/2014/main" id="{779060E2-AAAD-4E7D-9B8E-6496A104A294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</p:spTree>
    <p:extLst>
      <p:ext uri="{BB962C8B-B14F-4D97-AF65-F5344CB8AC3E}">
        <p14:creationId xmlns:p14="http://schemas.microsoft.com/office/powerpoint/2010/main" val="4266490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AF4B65-00B0-4B3E-B6D1-E9BB9526A3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7C84A4-15EA-4F9D-97AD-7906B5988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9E2B82-BA91-466D-BC75-92E030FCB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195472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, Charcoal bakgrunn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AF4B65-00B0-4B3E-B6D1-E9BB9526A3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7C84A4-15EA-4F9D-97AD-7906B5988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9E2B82-BA91-466D-BC75-92E030FCB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MarkerTop">
            <a:extLst>
              <a:ext uri="{FF2B5EF4-FFF2-40B4-BE49-F238E27FC236}">
                <a16:creationId xmlns:a16="http://schemas.microsoft.com/office/drawing/2014/main" id="{38C11483-6816-46CB-8567-C294A52B74FF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pic>
        <p:nvPicPr>
          <p:cNvPr id="9" name="Logo firm">
            <a:extLst>
              <a:ext uri="{FF2B5EF4-FFF2-40B4-BE49-F238E27FC236}">
                <a16:creationId xmlns:a16="http://schemas.microsoft.com/office/drawing/2014/main" id="{9F96FD65-E83E-42E8-B729-646D09F6E4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10" name="MarkerBottom">
            <a:extLst>
              <a:ext uri="{FF2B5EF4-FFF2-40B4-BE49-F238E27FC236}">
                <a16:creationId xmlns:a16="http://schemas.microsoft.com/office/drawing/2014/main" id="{521792D4-07A3-4745-84F8-BFE0414BFE35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chemeClr val="tx1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</p:spTree>
    <p:extLst>
      <p:ext uri="{BB962C8B-B14F-4D97-AF65-F5344CB8AC3E}">
        <p14:creationId xmlns:p14="http://schemas.microsoft.com/office/powerpoint/2010/main" val="918791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(bildebakgrun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verlay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91999" cy="6858000"/>
          </a:xfrm>
          <a:solidFill>
            <a:schemeClr val="accent1">
              <a:alpha val="60000"/>
            </a:schemeClr>
          </a:solidFill>
        </p:spPr>
        <p:txBody>
          <a:bodyPr anchor="b" anchorCtr="0"/>
          <a:lstStyle>
            <a:lvl1pPr marL="0" indent="0">
              <a:buFontTx/>
              <a:buNone/>
              <a:defRPr sz="100">
                <a:noFill/>
              </a:defRPr>
            </a:lvl1pPr>
            <a:lvl2pPr marL="468000" indent="0">
              <a:buFontTx/>
              <a:buNone/>
              <a:defRPr>
                <a:solidFill>
                  <a:schemeClr val="bg1"/>
                </a:solidFill>
              </a:defRPr>
            </a:lvl2pPr>
            <a:lvl3pPr marL="79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792000" indent="0">
              <a:buFontTx/>
              <a:buNone/>
              <a:defRPr>
                <a:solidFill>
                  <a:schemeClr val="bg1"/>
                </a:solidFill>
              </a:defRPr>
            </a:lvl4pPr>
            <a:lvl5pPr marL="792000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Disclaimer</a:t>
            </a:r>
          </a:p>
        </p:txBody>
      </p:sp>
      <p:sp>
        <p:nvSpPr>
          <p:cNvPr id="20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lIns="2232000" tIns="180000" rIns="2232000"/>
          <a:lstStyle>
            <a:lvl1pPr marL="0" indent="0" algn="ctr">
              <a:buFontTx/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sz="1800"/>
              <a:t>Klikk på plassholderen og sett inn bilde via BrandMaster. For å få fargefilter på bildet, høyreklikk på innsatt bilde og velg Plasser lengst bak.</a:t>
            </a:r>
            <a:endParaRPr lang="nb-NO"/>
          </a:p>
        </p:txBody>
      </p:sp>
      <p:sp>
        <p:nvSpPr>
          <p:cNvPr id="18" name="Marker top TP17">
            <a:extLst>
              <a:ext uri="{FF2B5EF4-FFF2-40B4-BE49-F238E27FC236}">
                <a16:creationId xmlns:a16="http://schemas.microsoft.com/office/drawing/2014/main" id="{017B6595-2F6F-47EC-8B06-13A3E1ACC24F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788400" y="0"/>
            <a:ext cx="169200" cy="1410400"/>
          </a:xfrm>
          <a:custGeom>
            <a:avLst/>
            <a:gdLst>
              <a:gd name="connsiteX0" fmla="*/ 0 w 169200"/>
              <a:gd name="connsiteY0" fmla="*/ 0 h 1410400"/>
              <a:gd name="connsiteX1" fmla="*/ 169200 w 169200"/>
              <a:gd name="connsiteY1" fmla="*/ 0 h 1410400"/>
              <a:gd name="connsiteX2" fmla="*/ 169200 w 169200"/>
              <a:gd name="connsiteY2" fmla="*/ 1290426 h 1410400"/>
              <a:gd name="connsiteX3" fmla="*/ 0 w 169200"/>
              <a:gd name="connsiteY3" fmla="*/ 1410400 h 1410400"/>
              <a:gd name="connsiteX4" fmla="*/ 0 w 169200"/>
              <a:gd name="connsiteY4" fmla="*/ 1067982 h 1410400"/>
              <a:gd name="connsiteX5" fmla="*/ 0 w 169200"/>
              <a:gd name="connsiteY5" fmla="*/ 761974 h 1410400"/>
              <a:gd name="connsiteX6" fmla="*/ 0 w 169200"/>
              <a:gd name="connsiteY6" fmla="*/ 581107 h 1410400"/>
              <a:gd name="connsiteX7" fmla="*/ 0 w 169200"/>
              <a:gd name="connsiteY7" fmla="*/ 419556 h 141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200" h="1410400">
                <a:moveTo>
                  <a:pt x="0" y="0"/>
                </a:moveTo>
                <a:lnTo>
                  <a:pt x="169200" y="0"/>
                </a:lnTo>
                <a:lnTo>
                  <a:pt x="169200" y="1290426"/>
                </a:lnTo>
                <a:lnTo>
                  <a:pt x="0" y="1410400"/>
                </a:lnTo>
                <a:lnTo>
                  <a:pt x="0" y="1067982"/>
                </a:lnTo>
                <a:lnTo>
                  <a:pt x="0" y="761974"/>
                </a:lnTo>
                <a:lnTo>
                  <a:pt x="0" y="581107"/>
                </a:lnTo>
                <a:lnTo>
                  <a:pt x="0" y="41955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1" name="Marker bottom TP20">
            <a:extLst>
              <a:ext uri="{FF2B5EF4-FFF2-40B4-BE49-F238E27FC236}">
                <a16:creationId xmlns:a16="http://schemas.microsoft.com/office/drawing/2014/main" id="{4DCE0251-F021-47DD-B0D2-CD913A321827}"/>
              </a:ext>
            </a:extLst>
          </p:cNvPr>
          <p:cNvSpPr>
            <a:spLocks noGrp="1" noChangeAspect="1"/>
          </p:cNvSpPr>
          <p:nvPr>
            <p:ph type="body" sz="quarter" idx="20" hasCustomPrompt="1"/>
          </p:nvPr>
        </p:nvSpPr>
        <p:spPr bwMode="gray">
          <a:xfrm>
            <a:off x="788400" y="6027068"/>
            <a:ext cx="169200" cy="834532"/>
          </a:xfrm>
          <a:custGeom>
            <a:avLst/>
            <a:gdLst>
              <a:gd name="connsiteX0" fmla="*/ 169200 w 169200"/>
              <a:gd name="connsiteY0" fmla="*/ 0 h 834532"/>
              <a:gd name="connsiteX1" fmla="*/ 169200 w 169200"/>
              <a:gd name="connsiteY1" fmla="*/ 321812 h 834532"/>
              <a:gd name="connsiteX2" fmla="*/ 169200 w 169200"/>
              <a:gd name="connsiteY2" fmla="*/ 495070 h 834532"/>
              <a:gd name="connsiteX3" fmla="*/ 169200 w 169200"/>
              <a:gd name="connsiteY3" fmla="*/ 643624 h 834532"/>
              <a:gd name="connsiteX4" fmla="*/ 169200 w 169200"/>
              <a:gd name="connsiteY4" fmla="*/ 834532 h 834532"/>
              <a:gd name="connsiteX5" fmla="*/ 0 w 169200"/>
              <a:gd name="connsiteY5" fmla="*/ 834532 h 834532"/>
              <a:gd name="connsiteX6" fmla="*/ 0 w 169200"/>
              <a:gd name="connsiteY6" fmla="*/ 643624 h 834532"/>
              <a:gd name="connsiteX7" fmla="*/ 0 w 169200"/>
              <a:gd name="connsiteY7" fmla="*/ 615043 h 834532"/>
              <a:gd name="connsiteX8" fmla="*/ 0 w 169200"/>
              <a:gd name="connsiteY8" fmla="*/ 441786 h 834532"/>
              <a:gd name="connsiteX9" fmla="*/ 0 w 169200"/>
              <a:gd name="connsiteY9" fmla="*/ 119974 h 83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9200" h="834532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834532"/>
                </a:lnTo>
                <a:lnTo>
                  <a:pt x="0" y="834532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 marL="0" indent="0">
              <a:buNone/>
              <a:defRPr sz="100">
                <a:noFill/>
              </a:defRPr>
            </a:lvl1pPr>
          </a:lstStyle>
          <a:p>
            <a:pPr lvl="0"/>
            <a:r>
              <a:rPr lang="nb-NO"/>
              <a:t>.</a:t>
            </a:r>
          </a:p>
        </p:txBody>
      </p:sp>
      <p:sp>
        <p:nvSpPr>
          <p:cNvPr id="25" name="Date" hidden="1"/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26" name="Footer" hidden="1"/>
          <p:cNvSpPr>
            <a:spLocks noGrp="1"/>
          </p:cNvSpPr>
          <p:nvPr>
            <p:ph type="ftr" sz="quarter" idx="1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AE6B41B-688B-4D95-9E65-73E27037EE6D}"/>
              </a:ext>
            </a:extLst>
          </p:cNvPr>
          <p:cNvSpPr/>
          <p:nvPr userDrawn="1"/>
        </p:nvSpPr>
        <p:spPr bwMode="auto">
          <a:xfrm>
            <a:off x="-1" y="-389075"/>
            <a:ext cx="12192000" cy="34437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b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Velg farge på fargefilter: 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Sett inn bilde først, høyreklikk på 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Plasser lengst bak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. Klikk så på fargefilter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effectLst/>
              </a:rPr>
              <a:t> </a:t>
            </a:r>
            <a:endParaRPr lang="nb-NO"/>
          </a:p>
        </p:txBody>
      </p:sp>
      <p:pic>
        <p:nvPicPr>
          <p:cNvPr id="3" name="Logo" descr="{&quot;templafy&quot;:{&quot;id&quot;:&quot;14d24362-cff2-41ff-b052-d670dcd2640c&quot;}}">
            <a:extLst>
              <a:ext uri="{FF2B5EF4-FFF2-40B4-BE49-F238E27FC236}">
                <a16:creationId xmlns:a16="http://schemas.microsoft.com/office/drawing/2014/main" id="{D397F087-FB72-4F85-9E88-5FB2D3F712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804376" y="2188387"/>
            <a:ext cx="4583248" cy="2663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272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B81B449-7B97-41DC-B23F-65EDCBD316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E9E0E3-ECF6-4CFE-8698-AEFEBCECC3C0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6B46D5-337B-4906-8412-4EEA3884FA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36F230-C9A7-407A-B923-873839C8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7458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side (farget bakgrunn)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Date" hidden="1"/>
          <p:cNvSpPr>
            <a:spLocks noGrp="1"/>
          </p:cNvSpPr>
          <p:nvPr>
            <p:ph type="dt" sz="half" idx="13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26" name="Footer" hidden="1"/>
          <p:cNvSpPr>
            <a:spLocks noGrp="1"/>
          </p:cNvSpPr>
          <p:nvPr>
            <p:ph type="ftr" sz="quarter" idx="14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nb-NO"/>
          </a:p>
        </p:txBody>
      </p:sp>
      <p:sp>
        <p:nvSpPr>
          <p:cNvPr id="4" name="Slide Number Placeholder 3" hidden="1"/>
          <p:cNvSpPr>
            <a:spLocks noGrp="1"/>
          </p:cNvSpPr>
          <p:nvPr>
            <p:ph type="sldNum" sz="quarter" idx="19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Marker top TP17">
            <a:extLst>
              <a:ext uri="{FF2B5EF4-FFF2-40B4-BE49-F238E27FC236}">
                <a16:creationId xmlns:a16="http://schemas.microsoft.com/office/drawing/2014/main" id="{D7ADA67E-A22E-4C87-B45B-B4CCE75FF943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788400" y="0"/>
            <a:ext cx="169200" cy="1410400"/>
          </a:xfrm>
          <a:custGeom>
            <a:avLst/>
            <a:gdLst>
              <a:gd name="connsiteX0" fmla="*/ 0 w 169200"/>
              <a:gd name="connsiteY0" fmla="*/ 0 h 1410400"/>
              <a:gd name="connsiteX1" fmla="*/ 169200 w 169200"/>
              <a:gd name="connsiteY1" fmla="*/ 0 h 1410400"/>
              <a:gd name="connsiteX2" fmla="*/ 169200 w 169200"/>
              <a:gd name="connsiteY2" fmla="*/ 1290426 h 1410400"/>
              <a:gd name="connsiteX3" fmla="*/ 0 w 169200"/>
              <a:gd name="connsiteY3" fmla="*/ 1410400 h 1410400"/>
              <a:gd name="connsiteX4" fmla="*/ 0 w 169200"/>
              <a:gd name="connsiteY4" fmla="*/ 1067982 h 1410400"/>
              <a:gd name="connsiteX5" fmla="*/ 0 w 169200"/>
              <a:gd name="connsiteY5" fmla="*/ 761974 h 1410400"/>
              <a:gd name="connsiteX6" fmla="*/ 0 w 169200"/>
              <a:gd name="connsiteY6" fmla="*/ 581107 h 1410400"/>
              <a:gd name="connsiteX7" fmla="*/ 0 w 169200"/>
              <a:gd name="connsiteY7" fmla="*/ 419556 h 1410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69200" h="1410400">
                <a:moveTo>
                  <a:pt x="0" y="0"/>
                </a:moveTo>
                <a:lnTo>
                  <a:pt x="169200" y="0"/>
                </a:lnTo>
                <a:lnTo>
                  <a:pt x="169200" y="1290426"/>
                </a:lnTo>
                <a:lnTo>
                  <a:pt x="0" y="1410400"/>
                </a:lnTo>
                <a:lnTo>
                  <a:pt x="0" y="1067982"/>
                </a:lnTo>
                <a:lnTo>
                  <a:pt x="0" y="761974"/>
                </a:lnTo>
                <a:lnTo>
                  <a:pt x="0" y="581107"/>
                </a:lnTo>
                <a:lnTo>
                  <a:pt x="0" y="419556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4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16" name="Marker bottom TP20">
            <a:extLst>
              <a:ext uri="{FF2B5EF4-FFF2-40B4-BE49-F238E27FC236}">
                <a16:creationId xmlns:a16="http://schemas.microsoft.com/office/drawing/2014/main" id="{EA9277E4-BABA-4AD2-9139-F1DDAF1E379F}"/>
              </a:ext>
            </a:extLst>
          </p:cNvPr>
          <p:cNvSpPr txBox="1">
            <a:spLocks noChangeAspect="1"/>
          </p:cNvSpPr>
          <p:nvPr userDrawn="1"/>
        </p:nvSpPr>
        <p:spPr bwMode="gray">
          <a:xfrm>
            <a:off x="788400" y="6027068"/>
            <a:ext cx="169200" cy="834532"/>
          </a:xfrm>
          <a:custGeom>
            <a:avLst/>
            <a:gdLst>
              <a:gd name="connsiteX0" fmla="*/ 169200 w 169200"/>
              <a:gd name="connsiteY0" fmla="*/ 0 h 834532"/>
              <a:gd name="connsiteX1" fmla="*/ 169200 w 169200"/>
              <a:gd name="connsiteY1" fmla="*/ 321812 h 834532"/>
              <a:gd name="connsiteX2" fmla="*/ 169200 w 169200"/>
              <a:gd name="connsiteY2" fmla="*/ 495070 h 834532"/>
              <a:gd name="connsiteX3" fmla="*/ 169200 w 169200"/>
              <a:gd name="connsiteY3" fmla="*/ 643624 h 834532"/>
              <a:gd name="connsiteX4" fmla="*/ 169200 w 169200"/>
              <a:gd name="connsiteY4" fmla="*/ 834532 h 834532"/>
              <a:gd name="connsiteX5" fmla="*/ 0 w 169200"/>
              <a:gd name="connsiteY5" fmla="*/ 834532 h 834532"/>
              <a:gd name="connsiteX6" fmla="*/ 0 w 169200"/>
              <a:gd name="connsiteY6" fmla="*/ 643624 h 834532"/>
              <a:gd name="connsiteX7" fmla="*/ 0 w 169200"/>
              <a:gd name="connsiteY7" fmla="*/ 615043 h 834532"/>
              <a:gd name="connsiteX8" fmla="*/ 0 w 169200"/>
              <a:gd name="connsiteY8" fmla="*/ 441786 h 834532"/>
              <a:gd name="connsiteX9" fmla="*/ 0 w 169200"/>
              <a:gd name="connsiteY9" fmla="*/ 119974 h 8345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9200" h="834532">
                <a:moveTo>
                  <a:pt x="169200" y="0"/>
                </a:moveTo>
                <a:lnTo>
                  <a:pt x="169200" y="321812"/>
                </a:lnTo>
                <a:lnTo>
                  <a:pt x="169200" y="495070"/>
                </a:lnTo>
                <a:lnTo>
                  <a:pt x="169200" y="643624"/>
                </a:lnTo>
                <a:lnTo>
                  <a:pt x="169200" y="834532"/>
                </a:lnTo>
                <a:lnTo>
                  <a:pt x="0" y="834532"/>
                </a:lnTo>
                <a:lnTo>
                  <a:pt x="0" y="643624"/>
                </a:lnTo>
                <a:lnTo>
                  <a:pt x="0" y="615043"/>
                </a:lnTo>
                <a:lnTo>
                  <a:pt x="0" y="441786"/>
                </a:lnTo>
                <a:lnTo>
                  <a:pt x="0" y="119974"/>
                </a:ln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ED1A3B"/>
              </a:buClr>
              <a:buFont typeface="Trebuchet MS" panose="020B0603020202020204" pitchFamily="34" charset="0"/>
              <a:buNone/>
              <a:defRPr sz="100" b="0" kern="1200">
                <a:noFill/>
                <a:latin typeface="+mn-lt"/>
                <a:ea typeface="+mn-ea"/>
                <a:cs typeface="+mn-cs"/>
              </a:defRPr>
            </a:lvl1pPr>
            <a:lvl2pPr marL="468000" indent="-216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Trebuchet MS" panose="020B0603020202020204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8000" indent="-180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Trebuchet MS" panose="020B0603020202020204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92000" indent="-14400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Font typeface="Trebuchet MS" panose="020B0603020202020204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400" b="1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lang="en-GB" sz="16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1218786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Char char="​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/>
              <a:t>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9180488-4F0E-44D6-A476-78EF610A3EF6}"/>
              </a:ext>
            </a:extLst>
          </p:cNvPr>
          <p:cNvSpPr/>
          <p:nvPr userDrawn="1"/>
        </p:nvSpPr>
        <p:spPr bwMode="auto">
          <a:xfrm>
            <a:off x="0" y="-289669"/>
            <a:ext cx="12192000" cy="20213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Velg bakgrunnsfarge: 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Høyreklikk utenfor lysbildet, velg </a:t>
            </a: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Formater bakgrunn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, velg farge fra </a:t>
            </a:r>
            <a:r>
              <a:rPr kumimoji="0" lang="nb-NO" sz="1200" b="1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Farge.</a:t>
            </a:r>
            <a:r>
              <a:rPr kumimoji="0" lang="nb-NO" sz="1200" b="0" i="0" u="none" strike="noStrike" cap="none" normalizeH="0" baseline="0">
                <a:ln>
                  <a:noFill/>
                </a:ln>
                <a:solidFill>
                  <a:schemeClr val="bg1"/>
                </a:solidFill>
                <a:effectLst/>
              </a:rPr>
              <a:t>  </a:t>
            </a:r>
            <a:endParaRPr lang="nb-NO"/>
          </a:p>
        </p:txBody>
      </p:sp>
      <p:pic>
        <p:nvPicPr>
          <p:cNvPr id="10" name="Logo" descr="{&quot;templafy&quot;:{&quot;id&quot;:&quot;366dc069-820c-4205-bfb3-23fbc042e983&quot;}}">
            <a:extLst>
              <a:ext uri="{FF2B5EF4-FFF2-40B4-BE49-F238E27FC236}">
                <a16:creationId xmlns:a16="http://schemas.microsoft.com/office/drawing/2014/main" id="{2E017756-593A-4D25-9CC4-EBAD03B8DDF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804376" y="2188387"/>
            <a:ext cx="4583248" cy="2663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09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1493850"/>
            <a:ext cx="2700000" cy="49090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latin typeface="+mn-lt"/>
                <a:cs typeface="Arial" panose="020B0604020202020204" pitchFamily="34" charset="0"/>
              </a:rPr>
              <a:t>PICTURES</a:t>
            </a:r>
            <a:br>
              <a:rPr lang="nb-NO" sz="900">
                <a:latin typeface="+mn-lt"/>
                <a:cs typeface="Arial" panose="020B0604020202020204" pitchFamily="34" charset="0"/>
              </a:rPr>
            </a:b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corporate picture from Templafy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blu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emplafy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</a:t>
            </a:r>
            <a:r>
              <a:rPr lang="nb-NO" altLang="da-DK" sz="900" b="0" i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button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n the Templafy </a:t>
            </a:r>
            <a:b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ane on the right side of the screen</a:t>
            </a:r>
            <a:endParaRPr lang="nb-NO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nb-NO" altLang="da-DK" sz="900" b="0" baseline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placeholder, 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icon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endParaRPr lang="nb-NO"/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size or focus of the pictur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hol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 down while dragging the corners of the picture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delete the picture and insert a new one, the picture may lie in front of the text or graphic. If this happens, select the picture, 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latin typeface="+mn-lt"/>
                <a:cs typeface="Arial" panose="020B0604020202020204" pitchFamily="34" charset="0"/>
              </a:rPr>
              <a:t>GRIDLINES</a:t>
            </a:r>
            <a:endParaRPr lang="nb-NO" sz="16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and set tick mark next to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view of guides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ac: </a:t>
            </a:r>
            <a:r>
              <a:rPr lang="nb-NO" sz="900" b="0" i="0">
                <a:solidFill>
                  <a:srgbClr val="333333"/>
                </a:solidFill>
                <a:effectLst/>
                <a:latin typeface="SF Pro Text"/>
              </a:rPr>
              <a:t>⌘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+ option + ctrl + G</a:t>
            </a:r>
            <a:endParaRPr lang="nb-NO"/>
          </a:p>
        </p:txBody>
      </p: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008626" y="3553229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97817" y="1493850"/>
            <a:ext cx="2700000" cy="477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latin typeface="+mn-lt"/>
                <a:cs typeface="Arial" panose="020B0604020202020204" pitchFamily="34" charset="0"/>
              </a:rPr>
              <a:t>HEADER &amp; FOOTER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o this at the very end to apply the changes on all slides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eader and Footer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(write the desired text, click date or page number from or to)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only used on one slide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16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OPY/PASTE CONTENT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hen copying old content to your new presentation, 2 options are available: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Best practice: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eate a slide in your new presentation and copy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ece of content at a time (e.g. copy all text from </a:t>
            </a:r>
            <a:r>
              <a:rPr lang="nb-NO" altLang="da-DK" sz="900" b="0" i="0" u="sng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</a:t>
            </a:r>
            <a:r>
              <a:rPr lang="nb-NO" altLang="da-DK" sz="900" b="0" i="0" u="non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box)</a:t>
            </a:r>
            <a:endParaRPr lang="nb-NO" altLang="da-DK" sz="900" b="1" i="0" u="sng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latin typeface="+mn-lt"/>
                <a:cs typeface="Arial" panose="020B0604020202020204" pitchFamily="34" charset="0"/>
              </a:rPr>
              <a:t>SLIDES &amp; SLIDE ELEMENT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redefined slides and elements from the Templafy button. Choos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s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elements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rom the dropdown menu or from the buttons in the Templafy pane on the right side of the screen</a:t>
            </a:r>
            <a:endParaRPr lang="nb-NO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539752" y="448713"/>
            <a:ext cx="11109321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nb-NO" sz="3200" b="0" noProof="1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TIPS &amp; TRICKS - YOUR USER GUIDE. </a:t>
            </a:r>
            <a:endParaRPr lang="nb-NO"/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37838" y="204916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D27C8A6-3124-4A11-900D-2C649BB3C7C9}" type="datetime4">
              <a:rPr lang="nb-NO" smtClean="0"/>
              <a:t>11. juni 2025</a:t>
            </a:fld>
            <a:endParaRPr lang="nb-NO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01" t="45142" r="62601" b="9046"/>
          <a:stretch/>
        </p:blipFill>
        <p:spPr>
          <a:xfrm>
            <a:off x="7008626" y="2888654"/>
            <a:ext cx="341204" cy="321707"/>
          </a:xfrm>
          <a:prstGeom prst="rect">
            <a:avLst/>
          </a:prstGeom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39752" y="1493850"/>
            <a:ext cx="2448000" cy="3662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latin typeface="+mn-lt"/>
                <a:cs typeface="Arial" panose="020B0604020202020204" pitchFamily="34" charset="0"/>
              </a:rPr>
              <a:t>TEXT STYLES</a:t>
            </a:r>
            <a:endParaRPr lang="nb-NO" altLang="da-DK" sz="16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one level to the next level</a:t>
            </a:r>
            <a:endParaRPr lang="nb-NO"/>
          </a:p>
          <a:p>
            <a:pPr eaLnBrk="1" hangingPunct="1">
              <a:spcAft>
                <a:spcPts val="600"/>
              </a:spcAft>
              <a:defRPr/>
            </a:pPr>
            <a:r>
              <a:rPr lang="nb-NO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nb-NO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nb-NO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nb-NO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nb-NO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nb-NO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nb-NO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 position, size</a:t>
            </a:r>
            <a:r>
              <a:rPr lang="nb-NO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 slide placeholders to their default setting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sz="1600">
                <a:latin typeface="+mn-lt"/>
                <a:cs typeface="Arial" panose="020B0604020202020204" pitchFamily="34" charset="0"/>
              </a:rPr>
              <a:t>SLIDES &amp; LAYOUTS</a:t>
            </a:r>
            <a:endParaRPr lang="nb-NO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menu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 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 the </a:t>
            </a: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</a:t>
            </a:r>
            <a: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 to insert a new slide</a:t>
            </a: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br>
              <a:rPr lang="nb-NO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nb-NO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layout</a:t>
            </a:r>
            <a:endParaRPr lang="nb-NO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nb-NO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Click on the arrow next to </a:t>
            </a:r>
            <a:r>
              <a:rPr lang="nb-NO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Layout</a:t>
            </a:r>
            <a:br>
              <a:rPr lang="nb-NO" sz="900" b="1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</a:br>
            <a:r>
              <a:rPr lang="nb-NO" sz="900">
                <a:solidFill>
                  <a:srgbClr val="000000"/>
                </a:solidFill>
                <a:latin typeface="+mn-lt"/>
                <a:ea typeface="Arial" panose="020B0604020202020204" pitchFamily="34" charset="0"/>
              </a:rPr>
              <a:t>to view a dropdown menu of possible slide layouts</a:t>
            </a:r>
            <a:endParaRPr lang="nb-NO" sz="900">
              <a:latin typeface="+mn-lt"/>
              <a:ea typeface="Arial" panose="020B060402020202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32727" y="484329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32727" y="402629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35425" y="329314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32727" y="2581850"/>
            <a:ext cx="457143" cy="257143"/>
          </a:xfrm>
          <a:prstGeom prst="rect">
            <a:avLst/>
          </a:prstGeom>
        </p:spPr>
      </p:pic>
      <p:pic>
        <p:nvPicPr>
          <p:cNvPr id="25" name="Billede 19">
            <a:extLst>
              <a:ext uri="{FF2B5EF4-FFF2-40B4-BE49-F238E27FC236}">
                <a16:creationId xmlns:a16="http://schemas.microsoft.com/office/drawing/2014/main" id="{7A7FF5D0-B5BD-4319-9EDC-9A1EDCD96EF3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008626" y="1744119"/>
            <a:ext cx="305786" cy="36585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60BA6EE-5732-4291-A25B-58FE732DB28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973874" y="2171527"/>
            <a:ext cx="375956" cy="340710"/>
          </a:xfrm>
          <a:prstGeom prst="rect">
            <a:avLst/>
          </a:prstGeom>
        </p:spPr>
      </p:pic>
      <p:pic>
        <p:nvPicPr>
          <p:cNvPr id="33" name="Billede 19">
            <a:extLst>
              <a:ext uri="{FF2B5EF4-FFF2-40B4-BE49-F238E27FC236}">
                <a16:creationId xmlns:a16="http://schemas.microsoft.com/office/drawing/2014/main" id="{58F47304-1D42-42D2-B0CA-AFB08A907D2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761551" y="5187973"/>
            <a:ext cx="305786" cy="365851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9B7A66A3-6845-4B6A-A7F0-90BC6526A8B5}"/>
              </a:ext>
            </a:extLst>
          </p:cNvPr>
          <p:cNvGrpSpPr/>
          <p:nvPr userDrawn="1"/>
        </p:nvGrpSpPr>
        <p:grpSpPr>
          <a:xfrm>
            <a:off x="10703935" y="5572147"/>
            <a:ext cx="919887" cy="348549"/>
            <a:chOff x="10614863" y="2191288"/>
            <a:chExt cx="1020110" cy="386524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CB49698F-BBDE-4C1E-BF61-F75FE23DBE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r="67593"/>
            <a:stretch/>
          </p:blipFill>
          <p:spPr>
            <a:xfrm>
              <a:off x="10614863" y="2216959"/>
              <a:ext cx="388417" cy="360853"/>
            </a:xfrm>
            <a:prstGeom prst="rect">
              <a:avLst/>
            </a:prstGeom>
          </p:spPr>
        </p:pic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EDFB183B-AA21-423E-B216-E3C1CB293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0994571" y="2191288"/>
              <a:ext cx="640402" cy="37926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25207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nb-NO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4400" b="0" noProof="0">
                <a:solidFill>
                  <a:schemeClr val="bg1"/>
                </a:solidFill>
              </a:rPr>
              <a:t>If you see any </a:t>
            </a:r>
            <a:r>
              <a:rPr lang="nb-NO" sz="4400" b="1" i="1" noProof="0">
                <a:solidFill>
                  <a:schemeClr val="bg1"/>
                </a:solidFill>
              </a:rPr>
              <a:t>layouts after this </a:t>
            </a:r>
            <a:r>
              <a:rPr lang="nb-NO" sz="4400" b="0" i="0" noProof="0">
                <a:solidFill>
                  <a:schemeClr val="bg1"/>
                </a:solidFill>
              </a:rPr>
              <a:t>one</a:t>
            </a:r>
            <a:r>
              <a:rPr lang="nb-NO" sz="4400" b="1" i="1" noProof="0">
                <a:solidFill>
                  <a:schemeClr val="bg1"/>
                </a:solidFill>
              </a:rPr>
              <a:t>,</a:t>
            </a:r>
            <a:br>
              <a:rPr lang="nb-NO" sz="4400" b="0" i="0" noProof="0">
                <a:solidFill>
                  <a:schemeClr val="bg1"/>
                </a:solidFill>
              </a:rPr>
            </a:br>
            <a:r>
              <a:rPr lang="nb-NO" sz="4400" b="0" noProof="0">
                <a:solidFill>
                  <a:schemeClr val="bg1"/>
                </a:solidFill>
              </a:rPr>
              <a:t>do not use them. These layouts </a:t>
            </a:r>
            <a:r>
              <a:rPr lang="nb-NO" sz="4400" b="1" i="1" u="none" noProof="0">
                <a:solidFill>
                  <a:schemeClr val="bg1"/>
                </a:solidFill>
              </a:rPr>
              <a:t>are not </a:t>
            </a:r>
            <a:r>
              <a:rPr lang="nb-NO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nb-NO" sz="2800" b="0" noProof="0">
                <a:solidFill>
                  <a:schemeClr val="bg1"/>
                </a:solidFill>
              </a:rPr>
            </a:br>
            <a:br>
              <a:rPr lang="nb-NO" sz="2800" b="0" noProof="0">
                <a:solidFill>
                  <a:schemeClr val="bg1"/>
                </a:solidFill>
              </a:rPr>
            </a:br>
            <a:endParaRPr lang="nb-NO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nb-NO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b-NO" sz="13800" b="1" i="1" noProof="0">
                <a:solidFill>
                  <a:schemeClr val="bg1"/>
                </a:solidFill>
              </a:rPr>
              <a:t>Do not use </a:t>
            </a:r>
            <a:endParaRPr lang="nb-NO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nb-NO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nb-NO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nb-NO" sz="1800" b="0" noProof="0">
                <a:solidFill>
                  <a:schemeClr val="bg1"/>
                </a:solidFill>
              </a:rPr>
            </a:br>
            <a:endParaRPr lang="nb-NO" sz="1800" b="0" noProof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F52A3B9-C46E-47C2-A1FB-F5434525BDF4}" type="datetime4">
              <a:rPr lang="nb-NO" smtClean="0"/>
              <a:t>11. juni 2025</a:t>
            </a:fld>
            <a:endParaRPr lang="nb-NO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nb-NO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541626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AC692B-4F48-482E-A2E1-FE4EC0E39E8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CAA5DF8-1BF4-413C-8FA0-3F270F02E6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0093534-C230-457F-999A-05D6A3BF8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D5187-F790-4665-9882-85CEE9659C2E}" type="datetimeFigureOut">
              <a:rPr lang="nb-NO" smtClean="0"/>
              <a:t>11.06.2025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242D6F8B-9004-4FC5-8128-1969375ECB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DC56D295-40AF-4096-A1C8-211C3B707A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F0C431-3D96-4D00-BB04-9928F08686B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90070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778B0BE9-88B0-4883-9BA9-CD594C400EC1}"/>
              </a:ext>
            </a:extLst>
          </p:cNvPr>
          <p:cNvGrpSpPr/>
          <p:nvPr/>
        </p:nvGrpSpPr>
        <p:grpSpPr>
          <a:xfrm>
            <a:off x="4949631" y="5111861"/>
            <a:ext cx="1262947" cy="1335600"/>
            <a:chOff x="2678417" y="2427951"/>
            <a:chExt cx="1262947" cy="1335600"/>
          </a:xfrm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C59DCBF3-7AFA-4CD1-A918-BC6DDE674E6C}"/>
                </a:ext>
              </a:extLst>
            </p:cNvPr>
            <p:cNvSpPr>
              <a:spLocks noChangeAspect="1"/>
            </p:cNvSpPr>
            <p:nvPr/>
          </p:nvSpPr>
          <p:spPr>
            <a:xfrm rot="2700000">
              <a:off x="2769891" y="2336477"/>
              <a:ext cx="1080000" cy="1262947"/>
            </a:xfrm>
            <a:custGeom>
              <a:avLst/>
              <a:gdLst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0 w 1080000"/>
                <a:gd name="connsiteY9" fmla="*/ 931034 h 1262947"/>
                <a:gd name="connsiteX0" fmla="*/ 540000 w 1080000"/>
                <a:gd name="connsiteY0" fmla="*/ 0 h 1262947"/>
                <a:gd name="connsiteX1" fmla="*/ 1080000 w 1080000"/>
                <a:gd name="connsiteY1" fmla="*/ 931034 h 1262947"/>
                <a:gd name="connsiteX2" fmla="*/ 1064374 w 1080000"/>
                <a:gd name="connsiteY2" fmla="*/ 931034 h 1262947"/>
                <a:gd name="connsiteX3" fmla="*/ 1069029 w 1080000"/>
                <a:gd name="connsiteY3" fmla="*/ 938533 h 1262947"/>
                <a:gd name="connsiteX4" fmla="*/ 1080000 w 1080000"/>
                <a:gd name="connsiteY4" fmla="*/ 992947 h 1262947"/>
                <a:gd name="connsiteX5" fmla="*/ 540000 w 1080000"/>
                <a:gd name="connsiteY5" fmla="*/ 1262947 h 1262947"/>
                <a:gd name="connsiteX6" fmla="*/ 0 w 1080000"/>
                <a:gd name="connsiteY6" fmla="*/ 992947 h 1262947"/>
                <a:gd name="connsiteX7" fmla="*/ 10971 w 1080000"/>
                <a:gd name="connsiteY7" fmla="*/ 938533 h 1262947"/>
                <a:gd name="connsiteX8" fmla="*/ 15626 w 1080000"/>
                <a:gd name="connsiteY8" fmla="*/ 931034 h 1262947"/>
                <a:gd name="connsiteX9" fmla="*/ 540000 w 1080000"/>
                <a:gd name="connsiteY9" fmla="*/ 0 h 1262947"/>
                <a:gd name="connsiteX0" fmla="*/ 540000 w 1080000"/>
                <a:gd name="connsiteY0" fmla="*/ 0 h 1262947"/>
                <a:gd name="connsiteX1" fmla="*/ 1064374 w 1080000"/>
                <a:gd name="connsiteY1" fmla="*/ 931034 h 1262947"/>
                <a:gd name="connsiteX2" fmla="*/ 1069029 w 1080000"/>
                <a:gd name="connsiteY2" fmla="*/ 938533 h 1262947"/>
                <a:gd name="connsiteX3" fmla="*/ 1080000 w 1080000"/>
                <a:gd name="connsiteY3" fmla="*/ 992947 h 1262947"/>
                <a:gd name="connsiteX4" fmla="*/ 540000 w 1080000"/>
                <a:gd name="connsiteY4" fmla="*/ 1262947 h 1262947"/>
                <a:gd name="connsiteX5" fmla="*/ 0 w 1080000"/>
                <a:gd name="connsiteY5" fmla="*/ 992947 h 1262947"/>
                <a:gd name="connsiteX6" fmla="*/ 10971 w 1080000"/>
                <a:gd name="connsiteY6" fmla="*/ 938533 h 1262947"/>
                <a:gd name="connsiteX7" fmla="*/ 15626 w 1080000"/>
                <a:gd name="connsiteY7" fmla="*/ 931034 h 1262947"/>
                <a:gd name="connsiteX8" fmla="*/ 540000 w 1080000"/>
                <a:gd name="connsiteY8" fmla="*/ 0 h 12629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0000" h="1262947">
                  <a:moveTo>
                    <a:pt x="540000" y="0"/>
                  </a:moveTo>
                  <a:lnTo>
                    <a:pt x="1064374" y="931034"/>
                  </a:lnTo>
                  <a:lnTo>
                    <a:pt x="1069029" y="938533"/>
                  </a:lnTo>
                  <a:cubicBezTo>
                    <a:pt x="1076223" y="956109"/>
                    <a:pt x="1080000" y="974307"/>
                    <a:pt x="1080000" y="992947"/>
                  </a:cubicBezTo>
                  <a:cubicBezTo>
                    <a:pt x="1080000" y="1142064"/>
                    <a:pt x="838234" y="1262947"/>
                    <a:pt x="540000" y="1262947"/>
                  </a:cubicBezTo>
                  <a:cubicBezTo>
                    <a:pt x="241766" y="1262947"/>
                    <a:pt x="0" y="1142064"/>
                    <a:pt x="0" y="992947"/>
                  </a:cubicBezTo>
                  <a:cubicBezTo>
                    <a:pt x="0" y="974307"/>
                    <a:pt x="3778" y="956109"/>
                    <a:pt x="10971" y="938533"/>
                  </a:cubicBezTo>
                  <a:lnTo>
                    <a:pt x="15626" y="931034"/>
                  </a:lnTo>
                  <a:lnTo>
                    <a:pt x="540000" y="0"/>
                  </a:lnTo>
                  <a:close/>
                </a:path>
              </a:pathLst>
            </a:custGeom>
            <a:gradFill>
              <a:gsLst>
                <a:gs pos="60000">
                  <a:schemeClr val="bg2">
                    <a:lumMod val="90000"/>
                    <a:lumOff val="10000"/>
                  </a:schemeClr>
                </a:gs>
                <a:gs pos="30000">
                  <a:schemeClr val="bg2">
                    <a:lumMod val="90000"/>
                    <a:lumOff val="10000"/>
                  </a:schemeClr>
                </a:gs>
                <a:gs pos="40000">
                  <a:schemeClr val="bg2">
                    <a:lumMod val="75000"/>
                    <a:lumOff val="25000"/>
                  </a:schemeClr>
                </a:gs>
                <a:gs pos="100000">
                  <a:schemeClr val="bg2"/>
                </a:gs>
              </a:gsLst>
              <a:lin ang="600000" scaled="0"/>
            </a:gradFill>
            <a:ln>
              <a:noFill/>
            </a:ln>
            <a:effectLst>
              <a:innerShdw blurRad="254000" dist="101600" dir="2700000">
                <a:schemeClr val="accent1">
                  <a:lumMod val="60000"/>
                  <a:lumOff val="40000"/>
                  <a:alpha val="4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06964A02-96E1-4654-9187-DDDE7409F75B}"/>
                </a:ext>
              </a:extLst>
            </p:cNvPr>
            <p:cNvSpPr/>
            <p:nvPr/>
          </p:nvSpPr>
          <p:spPr>
            <a:xfrm rot="8100000">
              <a:off x="2784291" y="2683551"/>
              <a:ext cx="540000" cy="1080000"/>
            </a:xfrm>
            <a:prstGeom prst="ellipse">
              <a:avLst/>
            </a:prstGeom>
            <a:gradFill>
              <a:gsLst>
                <a:gs pos="100000">
                  <a:schemeClr val="bg2">
                    <a:lumMod val="90000"/>
                    <a:lumOff val="10000"/>
                  </a:schemeClr>
                </a:gs>
                <a:gs pos="50000">
                  <a:schemeClr val="bg2">
                    <a:lumMod val="95000"/>
                    <a:lumOff val="5000"/>
                  </a:schemeClr>
                </a:gs>
              </a:gsLst>
              <a:lin ang="5400000" scaled="0"/>
            </a:gradFill>
            <a:ln>
              <a:noFill/>
            </a:ln>
            <a:effectLst>
              <a:innerShdw blurRad="1270000" dist="2540000">
                <a:schemeClr val="accent1">
                  <a:lumMod val="60000"/>
                  <a:lumOff val="40000"/>
                  <a:alpha val="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BF3FF76C-A012-4CDA-8AE7-E941395571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49275"/>
            <a:ext cx="11090275" cy="984885"/>
          </a:xfr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1A4C80-DC38-4641-924F-90D6078CF5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95775" y="1750060"/>
            <a:ext cx="7345362" cy="4342765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C42771-D3A7-4072-85DC-B7C5E530E8A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3" y="1750060"/>
            <a:ext cx="3565525" cy="4342765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D47AB1-6EB5-4E2C-B4A7-42DC643E9F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1462FC-960E-4740-921F-B36862979F21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A9D15F-B6ED-46E1-9840-0B625880EE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AEB023-7A5E-4087-B75E-A38A80EE5D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4869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F98F1FBA-F8BB-42CF-8B3E-D19AAFEE96C1}"/>
              </a:ext>
            </a:extLst>
          </p:cNvPr>
          <p:cNvGrpSpPr/>
          <p:nvPr/>
        </p:nvGrpSpPr>
        <p:grpSpPr>
          <a:xfrm>
            <a:off x="334964" y="5115518"/>
            <a:ext cx="734257" cy="760506"/>
            <a:chOff x="5243759" y="1363788"/>
            <a:chExt cx="734257" cy="760506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60EE09DD-C3DB-4266-BCC3-A765CFFBF379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356930" y="1363788"/>
              <a:ext cx="621086" cy="364601"/>
            </a:xfrm>
            <a:custGeom>
              <a:avLst/>
              <a:gdLst>
                <a:gd name="T0" fmla="*/ 266 w 540"/>
                <a:gd name="T1" fmla="*/ 0 h 317"/>
                <a:gd name="T2" fmla="*/ 0 w 540"/>
                <a:gd name="T3" fmla="*/ 158 h 317"/>
                <a:gd name="T4" fmla="*/ 266 w 540"/>
                <a:gd name="T5" fmla="*/ 317 h 317"/>
                <a:gd name="T6" fmla="*/ 540 w 540"/>
                <a:gd name="T7" fmla="*/ 158 h 317"/>
                <a:gd name="T8" fmla="*/ 266 w 540"/>
                <a:gd name="T9" fmla="*/ 0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40" h="317">
                  <a:moveTo>
                    <a:pt x="266" y="0"/>
                  </a:moveTo>
                  <a:lnTo>
                    <a:pt x="0" y="158"/>
                  </a:lnTo>
                  <a:lnTo>
                    <a:pt x="266" y="317"/>
                  </a:lnTo>
                  <a:lnTo>
                    <a:pt x="540" y="158"/>
                  </a:lnTo>
                  <a:lnTo>
                    <a:pt x="266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5F301FE0-96DC-4EFB-BBEE-AED762C337C9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243759" y="1430747"/>
              <a:ext cx="305942" cy="538275"/>
            </a:xfrm>
            <a:custGeom>
              <a:avLst/>
              <a:gdLst>
                <a:gd name="T0" fmla="*/ 266 w 266"/>
                <a:gd name="T1" fmla="*/ 468 h 468"/>
                <a:gd name="T2" fmla="*/ 0 w 266"/>
                <a:gd name="T3" fmla="*/ 310 h 468"/>
                <a:gd name="T4" fmla="*/ 0 w 266"/>
                <a:gd name="T5" fmla="*/ 310 h 468"/>
                <a:gd name="T6" fmla="*/ 0 w 266"/>
                <a:gd name="T7" fmla="*/ 0 h 468"/>
                <a:gd name="T8" fmla="*/ 0 w 266"/>
                <a:gd name="T9" fmla="*/ 0 h 468"/>
                <a:gd name="T10" fmla="*/ 266 w 266"/>
                <a:gd name="T11" fmla="*/ 159 h 468"/>
                <a:gd name="T12" fmla="*/ 266 w 266"/>
                <a:gd name="T13" fmla="*/ 468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6" h="468">
                  <a:moveTo>
                    <a:pt x="266" y="468"/>
                  </a:moveTo>
                  <a:lnTo>
                    <a:pt x="0" y="310"/>
                  </a:lnTo>
                  <a:lnTo>
                    <a:pt x="0" y="31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6" y="159"/>
                  </a:lnTo>
                  <a:lnTo>
                    <a:pt x="266" y="468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9800000" scaled="0"/>
              <a:tileRect/>
            </a:gradFill>
            <a:ln>
              <a:noFill/>
            </a:ln>
            <a:effectLst>
              <a:innerShdw blurRad="254000">
                <a:schemeClr val="bg2">
                  <a:lumMod val="90000"/>
                  <a:lumOff val="1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3BEAD276-8850-4C0C-9777-8537000D522A}"/>
                </a:ext>
              </a:extLst>
            </p:cNvPr>
            <p:cNvSpPr>
              <a:spLocks/>
            </p:cNvSpPr>
            <p:nvPr/>
          </p:nvSpPr>
          <p:spPr bwMode="auto">
            <a:xfrm rot="1800000">
              <a:off x="5508097" y="1586019"/>
              <a:ext cx="315144" cy="538275"/>
            </a:xfrm>
            <a:custGeom>
              <a:avLst/>
              <a:gdLst>
                <a:gd name="T0" fmla="*/ 274 w 274"/>
                <a:gd name="T1" fmla="*/ 0 h 468"/>
                <a:gd name="T2" fmla="*/ 274 w 274"/>
                <a:gd name="T3" fmla="*/ 310 h 468"/>
                <a:gd name="T4" fmla="*/ 274 w 274"/>
                <a:gd name="T5" fmla="*/ 310 h 468"/>
                <a:gd name="T6" fmla="*/ 0 w 274"/>
                <a:gd name="T7" fmla="*/ 468 h 468"/>
                <a:gd name="T8" fmla="*/ 0 w 274"/>
                <a:gd name="T9" fmla="*/ 159 h 468"/>
                <a:gd name="T10" fmla="*/ 274 w 274"/>
                <a:gd name="T11" fmla="*/ 0 h 468"/>
                <a:gd name="T12" fmla="*/ 274 w 274"/>
                <a:gd name="T1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4" h="468">
                  <a:moveTo>
                    <a:pt x="274" y="0"/>
                  </a:moveTo>
                  <a:lnTo>
                    <a:pt x="274" y="310"/>
                  </a:lnTo>
                  <a:lnTo>
                    <a:pt x="274" y="310"/>
                  </a:lnTo>
                  <a:lnTo>
                    <a:pt x="0" y="468"/>
                  </a:lnTo>
                  <a:lnTo>
                    <a:pt x="0" y="159"/>
                  </a:lnTo>
                  <a:lnTo>
                    <a:pt x="274" y="0"/>
                  </a:lnTo>
                  <a:lnTo>
                    <a:pt x="274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bg2">
                    <a:lumMod val="90000"/>
                    <a:lumOff val="10000"/>
                    <a:alpha val="20000"/>
                  </a:schemeClr>
                </a:gs>
                <a:gs pos="100000">
                  <a:schemeClr val="accent1">
                    <a:lumMod val="60000"/>
                    <a:lumOff val="40000"/>
                    <a:alpha val="20000"/>
                  </a:schemeClr>
                </a:gs>
              </a:gsLst>
              <a:lin ang="18000000" scaled="0"/>
              <a:tileRect/>
            </a:gradFill>
            <a:ln>
              <a:noFill/>
            </a:ln>
            <a:effectLst>
              <a:innerShdw blurRad="254000">
                <a:schemeClr val="accent1">
                  <a:lumMod val="60000"/>
                  <a:lumOff val="40000"/>
                  <a:alpha val="60000"/>
                </a:scheme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E5EE0A0-B07E-479B-9684-4BD09FA437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75409"/>
            <a:ext cx="4500562" cy="984885"/>
          </a:xfrm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200" dirty="0"/>
            </a:lvl1pPr>
          </a:lstStyle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11893A9-3462-4F51-83AE-5D2F124B985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67324" y="575409"/>
            <a:ext cx="6373813" cy="5733316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BA9240C-79C0-4A88-A476-725DE1B9C2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0863" y="1776195"/>
            <a:ext cx="4500562" cy="4532530"/>
          </a:xfrm>
        </p:spPr>
        <p:txBody>
          <a:bodyPr anchor="t" anchorCtr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57D2D6F-49E8-4217-A908-2D9E435835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0BC9E2-CB44-4C05-9BB5-496C18A241E0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1C4440-6B8D-4A24-A807-8B1302A3DF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ample Footer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CFE189-E20B-4108-B290-244424336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A1B0FB-D917-4C8C-928F-313BD683B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836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33.xml"/><Relationship Id="rId42" Type="http://schemas.openxmlformats.org/officeDocument/2006/relationships/slideLayout" Target="../slideLayouts/slideLayout54.xml"/><Relationship Id="rId47" Type="http://schemas.openxmlformats.org/officeDocument/2006/relationships/slideLayout" Target="../slideLayouts/slideLayout59.xml"/><Relationship Id="rId63" Type="http://schemas.openxmlformats.org/officeDocument/2006/relationships/tags" Target="../tags/tag1.xml"/><Relationship Id="rId68" Type="http://schemas.openxmlformats.org/officeDocument/2006/relationships/tags" Target="../tags/tag6.xml"/><Relationship Id="rId84" Type="http://schemas.openxmlformats.org/officeDocument/2006/relationships/tags" Target="../tags/tag22.xml"/><Relationship Id="rId89" Type="http://schemas.openxmlformats.org/officeDocument/2006/relationships/tags" Target="../tags/tag27.xml"/><Relationship Id="rId7" Type="http://schemas.openxmlformats.org/officeDocument/2006/relationships/slideLayout" Target="../slideLayouts/slideLayout19.xml"/><Relationship Id="rId71" Type="http://schemas.openxmlformats.org/officeDocument/2006/relationships/tags" Target="../tags/tag9.xml"/><Relationship Id="rId92" Type="http://schemas.openxmlformats.org/officeDocument/2006/relationships/tags" Target="../tags/tag30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slideLayout" Target="../slideLayouts/slideLayout57.xml"/><Relationship Id="rId53" Type="http://schemas.openxmlformats.org/officeDocument/2006/relationships/slideLayout" Target="../slideLayouts/slideLayout65.xml"/><Relationship Id="rId58" Type="http://schemas.openxmlformats.org/officeDocument/2006/relationships/slideLayout" Target="../slideLayouts/slideLayout70.xml"/><Relationship Id="rId66" Type="http://schemas.openxmlformats.org/officeDocument/2006/relationships/tags" Target="../tags/tag4.xml"/><Relationship Id="rId74" Type="http://schemas.openxmlformats.org/officeDocument/2006/relationships/tags" Target="../tags/tag12.xml"/><Relationship Id="rId79" Type="http://schemas.openxmlformats.org/officeDocument/2006/relationships/tags" Target="../tags/tag17.xml"/><Relationship Id="rId87" Type="http://schemas.openxmlformats.org/officeDocument/2006/relationships/tags" Target="../tags/tag25.xml"/><Relationship Id="rId102" Type="http://schemas.openxmlformats.org/officeDocument/2006/relationships/image" Target="../media/image1.emf"/><Relationship Id="rId5" Type="http://schemas.openxmlformats.org/officeDocument/2006/relationships/slideLayout" Target="../slideLayouts/slideLayout17.xml"/><Relationship Id="rId61" Type="http://schemas.openxmlformats.org/officeDocument/2006/relationships/slideLayout" Target="../slideLayouts/slideLayout73.xml"/><Relationship Id="rId82" Type="http://schemas.openxmlformats.org/officeDocument/2006/relationships/tags" Target="../tags/tag20.xml"/><Relationship Id="rId90" Type="http://schemas.openxmlformats.org/officeDocument/2006/relationships/tags" Target="../tags/tag28.xml"/><Relationship Id="rId95" Type="http://schemas.openxmlformats.org/officeDocument/2006/relationships/tags" Target="../tags/tag33.xml"/><Relationship Id="rId1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slideLayout" Target="../slideLayouts/slideLayout60.xml"/><Relationship Id="rId56" Type="http://schemas.openxmlformats.org/officeDocument/2006/relationships/slideLayout" Target="../slideLayouts/slideLayout68.xml"/><Relationship Id="rId64" Type="http://schemas.openxmlformats.org/officeDocument/2006/relationships/tags" Target="../tags/tag2.xml"/><Relationship Id="rId69" Type="http://schemas.openxmlformats.org/officeDocument/2006/relationships/tags" Target="../tags/tag7.xml"/><Relationship Id="rId77" Type="http://schemas.openxmlformats.org/officeDocument/2006/relationships/tags" Target="../tags/tag15.xml"/><Relationship Id="rId100" Type="http://schemas.openxmlformats.org/officeDocument/2006/relationships/tags" Target="../tags/tag38.xml"/><Relationship Id="rId105" Type="http://schemas.openxmlformats.org/officeDocument/2006/relationships/image" Target="../media/image4.png"/><Relationship Id="rId8" Type="http://schemas.openxmlformats.org/officeDocument/2006/relationships/slideLayout" Target="../slideLayouts/slideLayout20.xml"/><Relationship Id="rId51" Type="http://schemas.openxmlformats.org/officeDocument/2006/relationships/slideLayout" Target="../slideLayouts/slideLayout63.xml"/><Relationship Id="rId72" Type="http://schemas.openxmlformats.org/officeDocument/2006/relationships/tags" Target="../tags/tag10.xml"/><Relationship Id="rId80" Type="http://schemas.openxmlformats.org/officeDocument/2006/relationships/tags" Target="../tags/tag18.xml"/><Relationship Id="rId85" Type="http://schemas.openxmlformats.org/officeDocument/2006/relationships/tags" Target="../tags/tag23.xml"/><Relationship Id="rId93" Type="http://schemas.openxmlformats.org/officeDocument/2006/relationships/tags" Target="../tags/tag31.xml"/><Relationship Id="rId98" Type="http://schemas.openxmlformats.org/officeDocument/2006/relationships/tags" Target="../tags/tag36.xml"/><Relationship Id="rId3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slideLayout" Target="../slideLayouts/slideLayout58.xml"/><Relationship Id="rId59" Type="http://schemas.openxmlformats.org/officeDocument/2006/relationships/slideLayout" Target="../slideLayouts/slideLayout71.xml"/><Relationship Id="rId67" Type="http://schemas.openxmlformats.org/officeDocument/2006/relationships/tags" Target="../tags/tag5.xml"/><Relationship Id="rId103" Type="http://schemas.openxmlformats.org/officeDocument/2006/relationships/image" Target="../media/image2.png"/><Relationship Id="rId20" Type="http://schemas.openxmlformats.org/officeDocument/2006/relationships/slideLayout" Target="../slideLayouts/slideLayout32.xml"/><Relationship Id="rId41" Type="http://schemas.openxmlformats.org/officeDocument/2006/relationships/slideLayout" Target="../slideLayouts/slideLayout53.xml"/><Relationship Id="rId54" Type="http://schemas.openxmlformats.org/officeDocument/2006/relationships/slideLayout" Target="../slideLayouts/slideLayout66.xml"/><Relationship Id="rId62" Type="http://schemas.openxmlformats.org/officeDocument/2006/relationships/theme" Target="../theme/theme2.xml"/><Relationship Id="rId70" Type="http://schemas.openxmlformats.org/officeDocument/2006/relationships/tags" Target="../tags/tag8.xml"/><Relationship Id="rId75" Type="http://schemas.openxmlformats.org/officeDocument/2006/relationships/tags" Target="../tags/tag13.xml"/><Relationship Id="rId83" Type="http://schemas.openxmlformats.org/officeDocument/2006/relationships/tags" Target="../tags/tag21.xml"/><Relationship Id="rId88" Type="http://schemas.openxmlformats.org/officeDocument/2006/relationships/tags" Target="../tags/tag26.xml"/><Relationship Id="rId91" Type="http://schemas.openxmlformats.org/officeDocument/2006/relationships/tags" Target="../tags/tag29.xml"/><Relationship Id="rId96" Type="http://schemas.openxmlformats.org/officeDocument/2006/relationships/tags" Target="../tags/tag3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61.xml"/><Relationship Id="rId57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22.xml"/><Relationship Id="rId31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56.xml"/><Relationship Id="rId52" Type="http://schemas.openxmlformats.org/officeDocument/2006/relationships/slideLayout" Target="../slideLayouts/slideLayout64.xml"/><Relationship Id="rId60" Type="http://schemas.openxmlformats.org/officeDocument/2006/relationships/slideLayout" Target="../slideLayouts/slideLayout72.xml"/><Relationship Id="rId65" Type="http://schemas.openxmlformats.org/officeDocument/2006/relationships/tags" Target="../tags/tag3.xml"/><Relationship Id="rId73" Type="http://schemas.openxmlformats.org/officeDocument/2006/relationships/tags" Target="../tags/tag11.xml"/><Relationship Id="rId78" Type="http://schemas.openxmlformats.org/officeDocument/2006/relationships/tags" Target="../tags/tag16.xml"/><Relationship Id="rId81" Type="http://schemas.openxmlformats.org/officeDocument/2006/relationships/tags" Target="../tags/tag19.xml"/><Relationship Id="rId86" Type="http://schemas.openxmlformats.org/officeDocument/2006/relationships/tags" Target="../tags/tag24.xml"/><Relationship Id="rId94" Type="http://schemas.openxmlformats.org/officeDocument/2006/relationships/tags" Target="../tags/tag32.xml"/><Relationship Id="rId99" Type="http://schemas.openxmlformats.org/officeDocument/2006/relationships/tags" Target="../tags/tag37.xml"/><Relationship Id="rId101" Type="http://schemas.openxmlformats.org/officeDocument/2006/relationships/oleObject" Target="../embeddings/oleObject1.bin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9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46.xml"/><Relationship Id="rId50" Type="http://schemas.openxmlformats.org/officeDocument/2006/relationships/slideLayout" Target="../slideLayouts/slideLayout62.xml"/><Relationship Id="rId55" Type="http://schemas.openxmlformats.org/officeDocument/2006/relationships/slideLayout" Target="../slideLayouts/slideLayout67.xml"/><Relationship Id="rId76" Type="http://schemas.openxmlformats.org/officeDocument/2006/relationships/tags" Target="../tags/tag14.xml"/><Relationship Id="rId97" Type="http://schemas.openxmlformats.org/officeDocument/2006/relationships/tags" Target="../tags/tag35.xml"/><Relationship Id="rId10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028302-E866-455D-8898-5362302754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550800"/>
            <a:ext cx="11090275" cy="1333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/>
          <a:p>
            <a:pPr lvl="0">
              <a:lnSpc>
                <a:spcPct val="100000"/>
              </a:lnSpc>
            </a:pPr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94E72B-F0CF-4BC4-B509-A1C4508BE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2113862"/>
            <a:ext cx="11091600" cy="3978963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ACE49D-C22F-4540-AC09-E421D2A2EDB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50863" y="6507212"/>
            <a:ext cx="262890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246CB39B-5F4C-4A7E-9BE3-AAFD45576D16}" type="datetime2">
              <a:rPr lang="en-US" smtClean="0"/>
              <a:t>Wednesday, June 11, 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D5C3BE-317E-49E8-82B5-C8A7EC9C8A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59150" y="6507212"/>
            <a:ext cx="637921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r>
              <a:rPr lang="en-US"/>
              <a:t>Sample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574E12-6C16-431F-B2CE-E4B15916BA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48863" y="6507212"/>
            <a:ext cx="169227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DBA1B0FB-D917-4C8C-928F-313BD683BF3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97443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  <p:sldLayoutId id="2147483747" r:id="rId12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4800" kern="120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spcAft>
          <a:spcPts val="800"/>
        </a:spcAft>
        <a:buFont typeface="Arial" panose="020B0604020202020204" pitchFamily="34" charset="0"/>
        <a:buChar char="•"/>
        <a:defRPr sz="20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4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4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4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sz="1400" kern="1200">
          <a:solidFill>
            <a:schemeClr val="tx1">
              <a:alpha val="6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2D9E941-D73E-4F5D-B5A8-CF739186D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772490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1" imgW="353" imgH="354" progId="TCLayout.ActiveDocument.1">
                  <p:embed/>
                </p:oleObj>
              </mc:Choice>
              <mc:Fallback>
                <p:oleObj name="think-cell Slide" r:id="rId101" imgW="353" imgH="35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2D9E941-D73E-4F5D-B5A8-CF739186D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 hidden="1">
            <a:extLst>
              <a:ext uri="{FF2B5EF4-FFF2-40B4-BE49-F238E27FC236}">
                <a16:creationId xmlns:a16="http://schemas.microsoft.com/office/drawing/2014/main" id="{11856510-A769-4751-BEDD-D77380CC7A1D}"/>
              </a:ext>
            </a:extLst>
          </p:cNvPr>
          <p:cNvPicPr>
            <a:picLocks noChangeAspect="1"/>
          </p:cNvPicPr>
          <p:nvPr userDrawn="1"/>
        </p:nvPicPr>
        <p:blipFill>
          <a:blip r:embed="rId103"/>
          <a:stretch>
            <a:fillRect/>
          </a:stretch>
        </p:blipFill>
        <p:spPr>
          <a:xfrm>
            <a:off x="-39569" y="0"/>
            <a:ext cx="12176449" cy="6858000"/>
          </a:xfrm>
          <a:prstGeom prst="rect">
            <a:avLst/>
          </a:prstGeom>
        </p:spPr>
      </p:pic>
      <p:pic>
        <p:nvPicPr>
          <p:cNvPr id="12" name="Picture 11" descr="Graphical user interface&#10;&#10;Description automatically generated" hidden="1">
            <a:extLst>
              <a:ext uri="{FF2B5EF4-FFF2-40B4-BE49-F238E27FC236}">
                <a16:creationId xmlns:a16="http://schemas.microsoft.com/office/drawing/2014/main" id="{0D25230D-B25F-4124-B522-ABFFE0D4B122}"/>
              </a:ext>
            </a:extLst>
          </p:cNvPr>
          <p:cNvPicPr>
            <a:picLocks noChangeAspect="1"/>
          </p:cNvPicPr>
          <p:nvPr userDrawn="1"/>
        </p:nvPicPr>
        <p:blipFill>
          <a:blip r:embed="rId104"/>
          <a:stretch>
            <a:fillRect/>
          </a:stretch>
        </p:blipFill>
        <p:spPr>
          <a:xfrm>
            <a:off x="-1" y="-5802"/>
            <a:ext cx="12181699" cy="68638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22006" y="772844"/>
            <a:ext cx="11147994" cy="864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2006" y="1903413"/>
            <a:ext cx="11147707" cy="40465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3B86F757-01F0-4689-9492-5F80DB408947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788400" y="0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  <p:sp>
        <p:nvSpPr>
          <p:cNvPr id="5" name="FLD_ClientNamePresentationTitle" hidden="1"/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endParaRPr lang="nb-NO"/>
          </a:p>
        </p:txBody>
      </p:sp>
      <p:sp>
        <p:nvSpPr>
          <p:cNvPr id="18" name="Date Placeholder 17" hidden="1"/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200" cap="all" baseline="0">
                <a:noFill/>
              </a:defRPr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16013" y="6484662"/>
            <a:ext cx="437747" cy="215978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329B6BB-2231-443D-A106-476177BA91F4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Logo firm" descr="A picture containing drawing&#10;&#10;Description automatically generated">
            <a:extLst>
              <a:ext uri="{FF2B5EF4-FFF2-40B4-BE49-F238E27FC236}">
                <a16:creationId xmlns:a16="http://schemas.microsoft.com/office/drawing/2014/main" id="{DEF2BF9B-D89A-40F1-B33E-AF20B9A60A79}"/>
              </a:ext>
            </a:extLst>
          </p:cNvPr>
          <p:cNvPicPr>
            <a:picLocks noChangeAspect="1"/>
          </p:cNvPicPr>
          <p:nvPr userDrawn="1"/>
        </p:nvPicPr>
        <p:blipFill>
          <a:blip r:embed="rId105"/>
          <a:stretch>
            <a:fillRect/>
          </a:stretch>
        </p:blipFill>
        <p:spPr>
          <a:xfrm>
            <a:off x="10823384" y="6308395"/>
            <a:ext cx="848992" cy="326093"/>
          </a:xfrm>
          <a:prstGeom prst="rect">
            <a:avLst/>
          </a:prstGeom>
        </p:spPr>
      </p:pic>
      <p:sp>
        <p:nvSpPr>
          <p:cNvPr id="22" name="[WorkArea]" descr="&lt;?xml version=&quot;1.0&quot; encoding=&quot;utf-16&quot;?&gt;&#10;&lt;GridTheme xmlns:xsi=&quot;http://www.w3.org/2001/XMLSchema-instance&quot; xmlns:xsd=&quot;http://www.w3.org/2001/XMLSchema&quot;&gt;&#10;  &lt;GuideLines /&gt;&#10;  &lt;SubGrids&gt;&#10;    &lt;SubGrid&gt;&#10;      &lt;Left&gt;41.1028328&lt;/Left&gt;&#10;      &lt;Top&gt;67.74803&lt;/Top&gt;&#10;      &lt;Width&gt;34.38378&lt;/Width&gt;&#10;      &lt;Height&gt;424.346466&lt;/Height&gt;&#10;    &lt;/SubGrid&gt;&#10;    &lt;SubGrid&gt;&#10;      &lt;Left&gt;75.48661&lt;/Left&gt;&#10;      &lt;Top&gt;67.74803&lt;/Top&gt;&#10;      &lt;Width&gt;12.4724407&lt;/Width&gt;&#10;      &lt;Height&gt;424.346466&lt;/Height&gt;&#10;    &lt;/SubGrid&gt;&#10;    &lt;SubGrid&gt;&#10;      &lt;Left&gt;87.95905&lt;/Left&gt;&#10;      &lt;Top&gt;67.74803&lt;/Top&gt;&#10;      &lt;Width&gt;34.38425&lt;/Width&gt;&#10;      &lt;Height&gt;424.346466&lt;/Height&gt;&#10;    &lt;/SubGrid&gt;&#10;    &lt;SubGrid&gt;&#10;      &lt;Left&gt;122.343307&lt;/Left&gt;&#10;      &lt;Top&gt;67.74803&lt;/Top&gt;&#10;      &lt;Width&gt;12.4724407&lt;/Width&gt;&#10;      &lt;Height&gt;424.346466&lt;/Height&gt;&#10;    &lt;/SubGrid&gt;&#10;    &lt;SubGrid&gt;&#10;      &lt;Left&gt;134.81575&lt;/Left&gt;&#10;      &lt;Top&gt;67.74803&lt;/Top&gt;&#10;      &lt;Width&gt;34.38425&lt;/Width&gt;&#10;      &lt;Height&gt;424.346466&lt;/Height&gt;&#10;    &lt;/SubGrid&gt;&#10;    &lt;SubGrid&gt;&#10;      &lt;Left&gt;169.2&lt;/Left&gt;&#10;      &lt;Top&gt;67.74803&lt;/Top&gt;&#10;      &lt;Width&gt;12.4724407&lt;/Width&gt;&#10;      &lt;Height&gt;424.346466&lt;/Height&gt;&#10;    &lt;/SubGrid&gt;&#10;    &lt;SubGrid&gt;&#10;      &lt;Left&gt;181.67244&lt;/Left&gt;&#10;      &lt;Top&gt;67.74803&lt;/Top&gt;&#10;      &lt;Width&gt;34.38425&lt;/Width&gt;&#10;      &lt;Height&gt;424.346466&lt;/Height&gt;&#10;    &lt;/SubGrid&gt;&#10;    &lt;SubGrid&gt;&#10;      &lt;Left&gt;216.056686&lt;/Left&gt;&#10;      &lt;Top&gt;67.74803&lt;/Top&gt;&#10;      &lt;Width&gt;12.4724407&lt;/Width&gt;&#10;      &lt;Height&gt;424.346466&lt;/Height&gt;&#10;    &lt;/SubGrid&gt;&#10;    &lt;SubGrid&gt;&#10;      &lt;Left&gt;228.529129&lt;/Left&gt;&#10;      &lt;Top&gt;67.74803&lt;/Top&gt;&#10;      &lt;Width&gt;34.38425&lt;/Width&gt;&#10;      &lt;Height&gt;424.346466&lt;/Height&gt;&#10;    &lt;/SubGrid&gt;&#10;    &lt;SubGrid&gt;&#10;      &lt;Left&gt;262.9134&lt;/Left&gt;&#10;      &lt;Top&gt;67.74803&lt;/Top&gt;&#10;      &lt;Width&gt;12.4724407&lt;/Width&gt;&#10;      &lt;Height&gt;424.346466&lt;/Height&gt;&#10;    &lt;/SubGrid&gt;&#10;    &lt;SubGrid&gt;&#10;      &lt;Left&gt;275.385834&lt;/Left&gt;&#10;      &lt;Top&gt;67.74803&lt;/Top&gt;&#10;      &lt;Width&gt;34.38425&lt;/Width&gt;&#10;      &lt;Height&gt;424.346466&lt;/Height&gt;&#10;    &lt;/SubGrid&gt;&#10;    &lt;SubGrid&gt;&#10;      &lt;Left&gt;309.770081&lt;/Left&gt;&#10;      &lt;Top&gt;67.74803&lt;/Top&gt;&#10;      &lt;Width&gt;12.4724407&lt;/Width&gt;&#10;      &lt;Height&gt;424.346466&lt;/Height&gt;&#10;    &lt;/SubGrid&gt;&#10;    &lt;SubGrid&gt;&#10;      &lt;Left&gt;322.242523&lt;/Left&gt;&#10;      &lt;Top&gt;67.74803&lt;/Top&gt;&#10;      &lt;Width&gt;34.38425&lt;/Width&gt;&#10;      &lt;Height&gt;424.346466&lt;/Height&gt;&#10;    &lt;/SubGrid&gt;&#10;    &lt;SubGrid&gt;&#10;      &lt;Left&gt;356.62677&lt;/Left&gt;&#10;      &lt;Top&gt;67.74803&lt;/Top&gt;&#10;      &lt;Width&gt;12.4724407&lt;/Width&gt;&#10;      &lt;Height&gt;424.346466&lt;/Height&gt;&#10;    &lt;/SubGrid&gt;&#10;    &lt;SubGrid&gt;&#10;      &lt;Left&gt;369.0992&lt;/Left&gt;&#10;      &lt;Top&gt;67.74803&lt;/Top&gt;&#10;      &lt;Width&gt;34.38425&lt;/Width&gt;&#10;      &lt;Height&gt;424.346466&lt;/Height&gt;&#10;    &lt;/SubGrid&gt;&#10;    &lt;SubGrid&gt;&#10;      &lt;Left&gt;403.483459&lt;/Left&gt;&#10;      &lt;Top&gt;67.74803&lt;/Top&gt;&#10;      &lt;Width&gt;12.4724407&lt;/Width&gt;&#10;      &lt;Height&gt;424.346466&lt;/Height&gt;&#10;    &lt;/SubGrid&gt;&#10;    &lt;SubGrid&gt;&#10;      &lt;Left&gt;415.9559&lt;/Left&gt;&#10;      &lt;Top&gt;67.74803&lt;/Top&gt;&#10;      &lt;Width&gt;34.38425&lt;/Width&gt;&#10;      &lt;Height&gt;424.346466&lt;/Height&gt;&#10;    &lt;/SubGrid&gt;&#10;    &lt;SubGrid&gt;&#10;      &lt;Left&gt;450.340149&lt;/Left&gt;&#10;      &lt;Top&gt;67.74803&lt;/Top&gt;&#10;      &lt;Width&gt;12.4724407&lt;/Width&gt;&#10;      &lt;Height&gt;424.346466&lt;/Height&gt;&#10;    &lt;/SubGrid&gt;&#10;    &lt;SubGrid&gt;&#10;      &lt;Left&gt;462.8126&lt;/Left&gt;&#10;      &lt;Top&gt;67.74803&lt;/Top&gt;&#10;      &lt;Width&gt;34.38425&lt;/Width&gt;&#10;      &lt;Height&gt;424.346466&lt;/Height&gt;&#10;    &lt;/SubGrid&gt;&#10;    &lt;SubGrid&gt;&#10;      &lt;Left&gt;497.196838&lt;/Left&gt;&#10;      &lt;Top&gt;67.74803&lt;/Top&gt;&#10;      &lt;Width&gt;12.4724407&lt;/Width&gt;&#10;      &lt;Height&gt;424.346466&lt;/Height&gt;&#10;    &lt;/SubGrid&gt;&#10;    &lt;SubGrid&gt;&#10;      &lt;Left&gt;509.669281&lt;/Left&gt;&#10;      &lt;Top&gt;67.74803&lt;/Top&gt;&#10;      &lt;Width&gt;34.38425&lt;/Width&gt;&#10;      &lt;Height&gt;424.346466&lt;/Height&gt;&#10;    &lt;/SubGrid&gt;&#10;    &lt;SubGrid&gt;&#10;      &lt;Left&gt;544.0535&lt;/Left&gt;&#10;      &lt;Top&gt;67.74803&lt;/Top&gt;&#10;      &lt;Width&gt;12.4724407&lt;/Width&gt;&#10;      &lt;Height&gt;424.346466&lt;/Height&gt;&#10;    &lt;/SubGrid&gt;&#10;    &lt;SubGrid&gt;&#10;      &lt;Left&gt;556.526&lt;/Left&gt;&#10;      &lt;Top&gt;67.74803&lt;/Top&gt;&#10;      &lt;Width&gt;34.38425&lt;/Width&gt;&#10;      &lt;Height&gt;424.346466&lt;/Height&gt;&#10;    &lt;/SubGrid&gt;&#10;    &lt;SubGrid&gt;&#10;      &lt;Left&gt;590.9102&lt;/Left&gt;&#10;      &lt;Top&gt;67.74803&lt;/Top&gt;&#10;      &lt;Width&gt;12.4724407&lt;/Width&gt;&#10;      &lt;Height&gt;424.346466&lt;/Height&gt;&#10;    &lt;/SubGrid&gt;&#10;    &lt;SubGrid&gt;&#10;      &lt;Left&gt;603.3827&lt;/Left&gt;&#10;      &lt;Top&gt;67.74803&lt;/Top&gt;&#10;      &lt;Width&gt;34.38425&lt;/Width&gt;&#10;      &lt;Height&gt;424.346466&lt;/Height&gt;&#10;    &lt;/SubGrid&gt;&#10;    &lt;SubGrid&gt;&#10;      &lt;Left&gt;637.7669&lt;/Left&gt;&#10;      &lt;Top&gt;67.74803&lt;/Top&gt;&#10;      &lt;Width&gt;12.4724407&lt;/Width&gt;&#10;      &lt;Height&gt;424.346466&lt;/Height&gt;&#10;    &lt;/SubGrid&gt;&#10;    &lt;SubGrid&gt;&#10;      &lt;Left&gt;650.2394&lt;/Left&gt;&#10;      &lt;Top&gt;67.74803&lt;/Top&gt;&#10;      &lt;Width&gt;34.38425&lt;/Width&gt;&#10;      &lt;Height&gt;424.346466&lt;/Height&gt;&#10;    &lt;/SubGrid&gt;&#10;    &lt;SubGrid&gt;&#10;      &lt;Left&gt;684.6236&lt;/Left&gt;&#10;      &lt;Top&gt;67.74803&lt;/Top&gt;&#10;      &lt;Width&gt;12.4724407&lt;/Width&gt;&#10;      &lt;Height&gt;424.346466&lt;/Height&gt;&#10;    &lt;/SubGrid&gt;&#10;    &lt;SubGrid&gt;&#10;      &lt;Left&gt;697.096069&lt;/Left&gt;&#10;      &lt;Top&gt;67.74803&lt;/Top&gt;&#10;      &lt;Width&gt;34.38425&lt;/Width&gt;&#10;      &lt;Height&gt;424.346466&lt;/Height&gt;&#10;    &lt;/SubGrid&gt;&#10;    &lt;SubGrid&gt;&#10;      &lt;Left&gt;731.4803&lt;/Left&gt;&#10;      &lt;Top&gt;67.74803&lt;/Top&gt;&#10;      &lt;Width&gt;12.4724407&lt;/Width&gt;&#10;      &lt;Height&gt;424.346466&lt;/Height&gt;&#10;    &lt;/SubGrid&gt;&#10;    &lt;SubGrid&gt;&#10;      &lt;Left&gt;743.952759&lt;/Left&gt;&#10;      &lt;Top&gt;67.74803&lt;/Top&gt;&#10;      &lt;Width&gt;34.38425&lt;/Width&gt;&#10;      &lt;Height&gt;424.346466&lt;/Height&gt;&#10;    &lt;/SubGrid&gt;&#10;    &lt;SubGrid&gt;&#10;      &lt;Left&gt;778.337036&lt;/Left&gt;&#10;      &lt;Top&gt;67.74803&lt;/Top&gt;&#10;      &lt;Width&gt;12.4724407&lt;/Width&gt;&#10;      &lt;Height&gt;424.346466&lt;/Height&gt;&#10;    &lt;/SubGrid&gt;&#10;    &lt;SubGrid&gt;&#10;      &lt;Left&gt;790.8&lt;/Left&gt;&#10;      &lt;Top&gt;67.74803&lt;/Top&gt;&#10;      &lt;Width&gt;34.38425&lt;/Width&gt;&#10;      &lt;Height&gt;424.346466&lt;/Height&gt;&#10;    &lt;/SubGrid&gt;&#10;    &lt;SubGrid&gt;&#10;      &lt;Left&gt;825.184265&lt;/Left&gt;&#10;      &lt;Top&gt;67.74803&lt;/Top&gt;&#10;      &lt;Width&gt;12.4724407&lt;/Width&gt;&#10;      &lt;Height&gt;424.346466&lt;/Height&gt;&#10;    &lt;/SubGrid&gt;&#10;    &lt;SubGrid&gt;&#10;      &lt;Left&gt;837.6567&lt;/Left&gt;&#10;      &lt;Top&gt;67.74803&lt;/Top&gt;&#10;      &lt;Width&gt;34.38425&lt;/Width&gt;&#10;      &lt;Height&gt;424.346466&lt;/Height&gt;&#10;    &lt;/SubGrid&gt;&#10;    &lt;SubGrid&gt;&#10;      &lt;Left&gt;872.040955&lt;/Left&gt;&#10;      &lt;Top&gt;67.74803&lt;/Top&gt;&#10;      &lt;Width&gt;12.4724407&lt;/Width&gt;&#10;      &lt;Height&gt;424.346466&lt;/Height&gt;&#10;    &lt;/SubGrid&gt;&#10;    &lt;SubGrid&gt;&#10;      &lt;Left&gt;884.513367&lt;/Left&gt;&#10;      &lt;Top&gt;67.74803&lt;/Top&gt;&#10;      &lt;Width&gt;34.38425&lt;/Width&gt;&#10;      &lt;Height&gt;424.346466&lt;/Height&gt;&#10;    &lt;/SubGrid&gt;&#10;  &lt;/SubGrids&gt;&#10;  &lt;WorkArea&gt;&#10;    &lt;Top&gt;67.74803&lt;/Top&gt;&#10;    &lt;Left&gt;41.1028328&lt;/Left&gt;&#10;    &lt;Width&gt;877.7948&lt;/Width&gt;&#10;    &lt;Height&gt;424.346466&lt;/Height&gt;&#10;  &lt;/WorkArea&gt;&#10;  &lt;AspectW&gt;16&lt;/AspectW&gt;&#10;  &lt;AspectH&gt;9&lt;/AspectH&gt;&#10;  &lt;Width&gt;960&lt;/Width&gt;&#10;  &lt;Height&gt;540&lt;/Height&gt;&#10;  &lt;HGap&gt;10&lt;/HGap&gt;&#10;  &lt;VGap&gt;10&lt;/VGap&gt;&#10;  &lt;OfficeVersion&gt;16&lt;/OfficeVersion&gt;&#10;&lt;/GridTheme&gt;" hidden="1">
            <a:extLst>
              <a:ext uri="{FF2B5EF4-FFF2-40B4-BE49-F238E27FC236}">
                <a16:creationId xmlns:a16="http://schemas.microsoft.com/office/drawing/2014/main" id="{40F43348-EE79-4346-ADB6-D2154785525D}"/>
              </a:ext>
            </a:extLst>
          </p:cNvPr>
          <p:cNvSpPr/>
          <p:nvPr userDrawn="1"/>
        </p:nvSpPr>
        <p:spPr bwMode="auto">
          <a:xfrm>
            <a:off x="522006" y="860400"/>
            <a:ext cx="11147994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3" name="Rectangle 22" hidden="1">
            <a:extLst>
              <a:ext uri="{FF2B5EF4-FFF2-40B4-BE49-F238E27FC236}">
                <a16:creationId xmlns:a16="http://schemas.microsoft.com/office/drawing/2014/main" id="{E5D68E67-1DC0-43CB-A263-82D3A6A42F17}"/>
              </a:ext>
            </a:extLst>
          </p:cNvPr>
          <p:cNvSpPr/>
          <p:nvPr userDrawn="1">
            <p:custDataLst>
              <p:tags r:id="rId64"/>
            </p:custDataLst>
          </p:nvPr>
        </p:nvSpPr>
        <p:spPr bwMode="auto">
          <a:xfrm>
            <a:off x="522006" y="860400"/>
            <a:ext cx="436674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4" name="Rectangle 23" hidden="1">
            <a:extLst>
              <a:ext uri="{FF2B5EF4-FFF2-40B4-BE49-F238E27FC236}">
                <a16:creationId xmlns:a16="http://schemas.microsoft.com/office/drawing/2014/main" id="{3F6138D7-7090-4C99-B13A-31AA692C8BE0}"/>
              </a:ext>
            </a:extLst>
          </p:cNvPr>
          <p:cNvSpPr/>
          <p:nvPr userDrawn="1">
            <p:custDataLst>
              <p:tags r:id="rId65"/>
            </p:custDataLst>
          </p:nvPr>
        </p:nvSpPr>
        <p:spPr bwMode="auto">
          <a:xfrm>
            <a:off x="95868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5" name="Rectangle 24" hidden="1">
            <a:extLst>
              <a:ext uri="{FF2B5EF4-FFF2-40B4-BE49-F238E27FC236}">
                <a16:creationId xmlns:a16="http://schemas.microsoft.com/office/drawing/2014/main" id="{8AD70D6D-8BE7-4495-ADE4-388798B13149}"/>
              </a:ext>
            </a:extLst>
          </p:cNvPr>
          <p:cNvSpPr/>
          <p:nvPr userDrawn="1">
            <p:custDataLst>
              <p:tags r:id="rId66"/>
            </p:custDataLst>
          </p:nvPr>
        </p:nvSpPr>
        <p:spPr bwMode="auto">
          <a:xfrm>
            <a:off x="111708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6" name="Rectangle 25" hidden="1">
            <a:extLst>
              <a:ext uri="{FF2B5EF4-FFF2-40B4-BE49-F238E27FC236}">
                <a16:creationId xmlns:a16="http://schemas.microsoft.com/office/drawing/2014/main" id="{115AB307-729A-4127-AEA6-E9D666664A6D}"/>
              </a:ext>
            </a:extLst>
          </p:cNvPr>
          <p:cNvSpPr/>
          <p:nvPr userDrawn="1">
            <p:custDataLst>
              <p:tags r:id="rId67"/>
            </p:custDataLst>
          </p:nvPr>
        </p:nvSpPr>
        <p:spPr bwMode="auto">
          <a:xfrm>
            <a:off x="155376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7" name="Rectangle 26" hidden="1">
            <a:extLst>
              <a:ext uri="{FF2B5EF4-FFF2-40B4-BE49-F238E27FC236}">
                <a16:creationId xmlns:a16="http://schemas.microsoft.com/office/drawing/2014/main" id="{732B53AE-17C1-43A1-B57A-9E306A6AE6F7}"/>
              </a:ext>
            </a:extLst>
          </p:cNvPr>
          <p:cNvSpPr/>
          <p:nvPr userDrawn="1">
            <p:custDataLst>
              <p:tags r:id="rId68"/>
            </p:custDataLst>
          </p:nvPr>
        </p:nvSpPr>
        <p:spPr bwMode="auto">
          <a:xfrm>
            <a:off x="171216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8" name="Rectangle 27" hidden="1">
            <a:extLst>
              <a:ext uri="{FF2B5EF4-FFF2-40B4-BE49-F238E27FC236}">
                <a16:creationId xmlns:a16="http://schemas.microsoft.com/office/drawing/2014/main" id="{548A5AF1-AFBF-44D7-93CF-944C9DE7589D}"/>
              </a:ext>
            </a:extLst>
          </p:cNvPr>
          <p:cNvSpPr/>
          <p:nvPr userDrawn="1">
            <p:custDataLst>
              <p:tags r:id="rId69"/>
            </p:custDataLst>
          </p:nvPr>
        </p:nvSpPr>
        <p:spPr bwMode="auto">
          <a:xfrm>
            <a:off x="214884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9" name="Rectangle 28" hidden="1">
            <a:extLst>
              <a:ext uri="{FF2B5EF4-FFF2-40B4-BE49-F238E27FC236}">
                <a16:creationId xmlns:a16="http://schemas.microsoft.com/office/drawing/2014/main" id="{294FFBC3-AE4C-45F3-B395-15EB193C94BA}"/>
              </a:ext>
            </a:extLst>
          </p:cNvPr>
          <p:cNvSpPr/>
          <p:nvPr userDrawn="1">
            <p:custDataLst>
              <p:tags r:id="rId70"/>
            </p:custDataLst>
          </p:nvPr>
        </p:nvSpPr>
        <p:spPr bwMode="auto">
          <a:xfrm>
            <a:off x="230724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0" name="Rectangle 29" hidden="1">
            <a:extLst>
              <a:ext uri="{FF2B5EF4-FFF2-40B4-BE49-F238E27FC236}">
                <a16:creationId xmlns:a16="http://schemas.microsoft.com/office/drawing/2014/main" id="{F534D32E-64CB-4712-90EC-912FFA33BA30}"/>
              </a:ext>
            </a:extLst>
          </p:cNvPr>
          <p:cNvSpPr/>
          <p:nvPr userDrawn="1">
            <p:custDataLst>
              <p:tags r:id="rId71"/>
            </p:custDataLst>
          </p:nvPr>
        </p:nvSpPr>
        <p:spPr bwMode="auto">
          <a:xfrm>
            <a:off x="274392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1" name="Rectangle 30" hidden="1">
            <a:extLst>
              <a:ext uri="{FF2B5EF4-FFF2-40B4-BE49-F238E27FC236}">
                <a16:creationId xmlns:a16="http://schemas.microsoft.com/office/drawing/2014/main" id="{8613A9EA-0421-4287-B73F-E6867216BC9F}"/>
              </a:ext>
            </a:extLst>
          </p:cNvPr>
          <p:cNvSpPr/>
          <p:nvPr userDrawn="1">
            <p:custDataLst>
              <p:tags r:id="rId72"/>
            </p:custDataLst>
          </p:nvPr>
        </p:nvSpPr>
        <p:spPr bwMode="auto">
          <a:xfrm>
            <a:off x="290232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2" name="Rectangle 31" hidden="1">
            <a:extLst>
              <a:ext uri="{FF2B5EF4-FFF2-40B4-BE49-F238E27FC236}">
                <a16:creationId xmlns:a16="http://schemas.microsoft.com/office/drawing/2014/main" id="{8FC39682-6171-4556-9262-D09CD587E8AB}"/>
              </a:ext>
            </a:extLst>
          </p:cNvPr>
          <p:cNvSpPr/>
          <p:nvPr userDrawn="1">
            <p:custDataLst>
              <p:tags r:id="rId73"/>
            </p:custDataLst>
          </p:nvPr>
        </p:nvSpPr>
        <p:spPr bwMode="auto">
          <a:xfrm>
            <a:off x="333900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144603B0-842C-4285-A4EE-896E97D5E34B}"/>
              </a:ext>
            </a:extLst>
          </p:cNvPr>
          <p:cNvSpPr/>
          <p:nvPr userDrawn="1">
            <p:custDataLst>
              <p:tags r:id="rId74"/>
            </p:custDataLst>
          </p:nvPr>
        </p:nvSpPr>
        <p:spPr bwMode="auto">
          <a:xfrm>
            <a:off x="349740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4" name="Rectangle 33" hidden="1">
            <a:extLst>
              <a:ext uri="{FF2B5EF4-FFF2-40B4-BE49-F238E27FC236}">
                <a16:creationId xmlns:a16="http://schemas.microsoft.com/office/drawing/2014/main" id="{42A66D2F-5985-4E9D-94EE-3E09D3A471B4}"/>
              </a:ext>
            </a:extLst>
          </p:cNvPr>
          <p:cNvSpPr/>
          <p:nvPr userDrawn="1">
            <p:custDataLst>
              <p:tags r:id="rId75"/>
            </p:custDataLst>
          </p:nvPr>
        </p:nvSpPr>
        <p:spPr bwMode="auto">
          <a:xfrm>
            <a:off x="393408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5" name="Rectangle 34" hidden="1">
            <a:extLst>
              <a:ext uri="{FF2B5EF4-FFF2-40B4-BE49-F238E27FC236}">
                <a16:creationId xmlns:a16="http://schemas.microsoft.com/office/drawing/2014/main" id="{C6A17ED4-0E06-479D-9B1F-26CB96877824}"/>
              </a:ext>
            </a:extLst>
          </p:cNvPr>
          <p:cNvSpPr/>
          <p:nvPr userDrawn="1">
            <p:custDataLst>
              <p:tags r:id="rId76"/>
            </p:custDataLst>
          </p:nvPr>
        </p:nvSpPr>
        <p:spPr bwMode="auto">
          <a:xfrm>
            <a:off x="409248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6" name="Rectangle 35" hidden="1">
            <a:extLst>
              <a:ext uri="{FF2B5EF4-FFF2-40B4-BE49-F238E27FC236}">
                <a16:creationId xmlns:a16="http://schemas.microsoft.com/office/drawing/2014/main" id="{1CBE09B1-EDBE-4B5E-BF62-1200BC6C8216}"/>
              </a:ext>
            </a:extLst>
          </p:cNvPr>
          <p:cNvSpPr/>
          <p:nvPr userDrawn="1">
            <p:custDataLst>
              <p:tags r:id="rId77"/>
            </p:custDataLst>
          </p:nvPr>
        </p:nvSpPr>
        <p:spPr bwMode="auto">
          <a:xfrm>
            <a:off x="452916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7" name="Rectangle 36" hidden="1">
            <a:extLst>
              <a:ext uri="{FF2B5EF4-FFF2-40B4-BE49-F238E27FC236}">
                <a16:creationId xmlns:a16="http://schemas.microsoft.com/office/drawing/2014/main" id="{62B18A05-A643-46A7-B648-02AB94ACAFFA}"/>
              </a:ext>
            </a:extLst>
          </p:cNvPr>
          <p:cNvSpPr/>
          <p:nvPr userDrawn="1">
            <p:custDataLst>
              <p:tags r:id="rId78"/>
            </p:custDataLst>
          </p:nvPr>
        </p:nvSpPr>
        <p:spPr bwMode="auto">
          <a:xfrm>
            <a:off x="468756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8" name="Rectangle 37" hidden="1">
            <a:extLst>
              <a:ext uri="{FF2B5EF4-FFF2-40B4-BE49-F238E27FC236}">
                <a16:creationId xmlns:a16="http://schemas.microsoft.com/office/drawing/2014/main" id="{15FE8A7D-67FD-4D5C-8354-B80683BA42B2}"/>
              </a:ext>
            </a:extLst>
          </p:cNvPr>
          <p:cNvSpPr/>
          <p:nvPr userDrawn="1">
            <p:custDataLst>
              <p:tags r:id="rId79"/>
            </p:custDataLst>
          </p:nvPr>
        </p:nvSpPr>
        <p:spPr bwMode="auto">
          <a:xfrm>
            <a:off x="512424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39" name="Rectangle 38" hidden="1">
            <a:extLst>
              <a:ext uri="{FF2B5EF4-FFF2-40B4-BE49-F238E27FC236}">
                <a16:creationId xmlns:a16="http://schemas.microsoft.com/office/drawing/2014/main" id="{3228498C-EC1D-4432-843C-264466361C22}"/>
              </a:ext>
            </a:extLst>
          </p:cNvPr>
          <p:cNvSpPr/>
          <p:nvPr userDrawn="1">
            <p:custDataLst>
              <p:tags r:id="rId80"/>
            </p:custDataLst>
          </p:nvPr>
        </p:nvSpPr>
        <p:spPr bwMode="auto">
          <a:xfrm>
            <a:off x="528264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6D04993-4C03-4D80-9236-9C4968B7D58F}"/>
              </a:ext>
            </a:extLst>
          </p:cNvPr>
          <p:cNvSpPr/>
          <p:nvPr userDrawn="1">
            <p:custDataLst>
              <p:tags r:id="rId81"/>
            </p:custDataLst>
          </p:nvPr>
        </p:nvSpPr>
        <p:spPr bwMode="auto">
          <a:xfrm>
            <a:off x="571932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1" name="Rectangle 40" hidden="1">
            <a:extLst>
              <a:ext uri="{FF2B5EF4-FFF2-40B4-BE49-F238E27FC236}">
                <a16:creationId xmlns:a16="http://schemas.microsoft.com/office/drawing/2014/main" id="{81AA3A94-7806-4BCD-A54F-30BAA4AAAED8}"/>
              </a:ext>
            </a:extLst>
          </p:cNvPr>
          <p:cNvSpPr/>
          <p:nvPr userDrawn="1">
            <p:custDataLst>
              <p:tags r:id="rId82"/>
            </p:custDataLst>
          </p:nvPr>
        </p:nvSpPr>
        <p:spPr bwMode="auto">
          <a:xfrm>
            <a:off x="587772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2" name="Rectangle 41" hidden="1">
            <a:extLst>
              <a:ext uri="{FF2B5EF4-FFF2-40B4-BE49-F238E27FC236}">
                <a16:creationId xmlns:a16="http://schemas.microsoft.com/office/drawing/2014/main" id="{87EF943D-349F-4663-BB51-A437030475F3}"/>
              </a:ext>
            </a:extLst>
          </p:cNvPr>
          <p:cNvSpPr/>
          <p:nvPr userDrawn="1">
            <p:custDataLst>
              <p:tags r:id="rId83"/>
            </p:custDataLst>
          </p:nvPr>
        </p:nvSpPr>
        <p:spPr bwMode="auto">
          <a:xfrm>
            <a:off x="631440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3" name="Rectangle 42" hidden="1">
            <a:extLst>
              <a:ext uri="{FF2B5EF4-FFF2-40B4-BE49-F238E27FC236}">
                <a16:creationId xmlns:a16="http://schemas.microsoft.com/office/drawing/2014/main" id="{B8A1DC87-331E-4DA1-B4C8-6883F672FDD8}"/>
              </a:ext>
            </a:extLst>
          </p:cNvPr>
          <p:cNvSpPr/>
          <p:nvPr userDrawn="1">
            <p:custDataLst>
              <p:tags r:id="rId84"/>
            </p:custDataLst>
          </p:nvPr>
        </p:nvSpPr>
        <p:spPr bwMode="auto">
          <a:xfrm>
            <a:off x="647280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4" name="Rectangle 43" hidden="1">
            <a:extLst>
              <a:ext uri="{FF2B5EF4-FFF2-40B4-BE49-F238E27FC236}">
                <a16:creationId xmlns:a16="http://schemas.microsoft.com/office/drawing/2014/main" id="{926C2317-D50A-44A2-9505-7FF81582FFF2}"/>
              </a:ext>
            </a:extLst>
          </p:cNvPr>
          <p:cNvSpPr/>
          <p:nvPr userDrawn="1">
            <p:custDataLst>
              <p:tags r:id="rId85"/>
            </p:custDataLst>
          </p:nvPr>
        </p:nvSpPr>
        <p:spPr bwMode="auto">
          <a:xfrm>
            <a:off x="6909480" y="860400"/>
            <a:ext cx="158399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5" name="Rectangle 44" hidden="1">
            <a:extLst>
              <a:ext uri="{FF2B5EF4-FFF2-40B4-BE49-F238E27FC236}">
                <a16:creationId xmlns:a16="http://schemas.microsoft.com/office/drawing/2014/main" id="{B8B8D3E4-152C-4B76-AD9A-0FF9C19C25A1}"/>
              </a:ext>
            </a:extLst>
          </p:cNvPr>
          <p:cNvSpPr/>
          <p:nvPr userDrawn="1">
            <p:custDataLst>
              <p:tags r:id="rId86"/>
            </p:custDataLst>
          </p:nvPr>
        </p:nvSpPr>
        <p:spPr bwMode="auto">
          <a:xfrm>
            <a:off x="7067880" y="860400"/>
            <a:ext cx="436681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13807351-D5F3-4D0C-8C5F-5E5F4263BA55}"/>
              </a:ext>
            </a:extLst>
          </p:cNvPr>
          <p:cNvSpPr/>
          <p:nvPr userDrawn="1">
            <p:custDataLst>
              <p:tags r:id="rId87"/>
            </p:custDataLst>
          </p:nvPr>
        </p:nvSpPr>
        <p:spPr bwMode="auto">
          <a:xfrm>
            <a:off x="7504560" y="860400"/>
            <a:ext cx="158399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811A6C5F-AEF1-4536-A1D0-6463050194CD}"/>
              </a:ext>
            </a:extLst>
          </p:cNvPr>
          <p:cNvSpPr/>
          <p:nvPr userDrawn="1">
            <p:custDataLst>
              <p:tags r:id="rId88"/>
            </p:custDataLst>
          </p:nvPr>
        </p:nvSpPr>
        <p:spPr bwMode="auto">
          <a:xfrm>
            <a:off x="766296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8" name="Rectangle 47" hidden="1">
            <a:extLst>
              <a:ext uri="{FF2B5EF4-FFF2-40B4-BE49-F238E27FC236}">
                <a16:creationId xmlns:a16="http://schemas.microsoft.com/office/drawing/2014/main" id="{F98E19DF-D1A9-4B45-9E5D-68FD41B0F6BA}"/>
              </a:ext>
            </a:extLst>
          </p:cNvPr>
          <p:cNvSpPr/>
          <p:nvPr userDrawn="1">
            <p:custDataLst>
              <p:tags r:id="rId89"/>
            </p:custDataLst>
          </p:nvPr>
        </p:nvSpPr>
        <p:spPr bwMode="auto">
          <a:xfrm>
            <a:off x="8099640" y="860400"/>
            <a:ext cx="158399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49" name="Rectangle 48" hidden="1">
            <a:extLst>
              <a:ext uri="{FF2B5EF4-FFF2-40B4-BE49-F238E27FC236}">
                <a16:creationId xmlns:a16="http://schemas.microsoft.com/office/drawing/2014/main" id="{3A1741BC-BF2B-4DD0-83E9-25666E073641}"/>
              </a:ext>
            </a:extLst>
          </p:cNvPr>
          <p:cNvSpPr/>
          <p:nvPr userDrawn="1">
            <p:custDataLst>
              <p:tags r:id="rId90"/>
            </p:custDataLst>
          </p:nvPr>
        </p:nvSpPr>
        <p:spPr bwMode="auto">
          <a:xfrm>
            <a:off x="825804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0" name="Rectangle 49" hidden="1">
            <a:extLst>
              <a:ext uri="{FF2B5EF4-FFF2-40B4-BE49-F238E27FC236}">
                <a16:creationId xmlns:a16="http://schemas.microsoft.com/office/drawing/2014/main" id="{59576C0A-865D-405B-AD8A-59E7800FF9DC}"/>
              </a:ext>
            </a:extLst>
          </p:cNvPr>
          <p:cNvSpPr/>
          <p:nvPr userDrawn="1">
            <p:custDataLst>
              <p:tags r:id="rId91"/>
            </p:custDataLst>
          </p:nvPr>
        </p:nvSpPr>
        <p:spPr bwMode="auto">
          <a:xfrm>
            <a:off x="8694720" y="860400"/>
            <a:ext cx="158399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3F3EC968-2D2D-4EBA-A135-B5C014FF4748}"/>
              </a:ext>
            </a:extLst>
          </p:cNvPr>
          <p:cNvSpPr/>
          <p:nvPr userDrawn="1">
            <p:custDataLst>
              <p:tags r:id="rId92"/>
            </p:custDataLst>
          </p:nvPr>
        </p:nvSpPr>
        <p:spPr bwMode="auto">
          <a:xfrm>
            <a:off x="885312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2" name="Rectangle 51" hidden="1">
            <a:extLst>
              <a:ext uri="{FF2B5EF4-FFF2-40B4-BE49-F238E27FC236}">
                <a16:creationId xmlns:a16="http://schemas.microsoft.com/office/drawing/2014/main" id="{1FB90E73-430E-41E2-BF9F-16CBAF827878}"/>
              </a:ext>
            </a:extLst>
          </p:cNvPr>
          <p:cNvSpPr/>
          <p:nvPr userDrawn="1">
            <p:custDataLst>
              <p:tags r:id="rId93"/>
            </p:custDataLst>
          </p:nvPr>
        </p:nvSpPr>
        <p:spPr bwMode="auto">
          <a:xfrm>
            <a:off x="9289800" y="860400"/>
            <a:ext cx="158399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3" name="Rectangle 52" hidden="1">
            <a:extLst>
              <a:ext uri="{FF2B5EF4-FFF2-40B4-BE49-F238E27FC236}">
                <a16:creationId xmlns:a16="http://schemas.microsoft.com/office/drawing/2014/main" id="{AB7CAFF2-1430-4AEB-ABA6-FDE4996B9880}"/>
              </a:ext>
            </a:extLst>
          </p:cNvPr>
          <p:cNvSpPr/>
          <p:nvPr userDrawn="1">
            <p:custDataLst>
              <p:tags r:id="rId94"/>
            </p:custDataLst>
          </p:nvPr>
        </p:nvSpPr>
        <p:spPr bwMode="auto">
          <a:xfrm>
            <a:off x="944820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4" name="Rectangle 53" hidden="1">
            <a:extLst>
              <a:ext uri="{FF2B5EF4-FFF2-40B4-BE49-F238E27FC236}">
                <a16:creationId xmlns:a16="http://schemas.microsoft.com/office/drawing/2014/main" id="{175C0A66-E973-48BB-8DA4-F95F1641A9C0}"/>
              </a:ext>
            </a:extLst>
          </p:cNvPr>
          <p:cNvSpPr/>
          <p:nvPr userDrawn="1">
            <p:custDataLst>
              <p:tags r:id="rId95"/>
            </p:custDataLst>
          </p:nvPr>
        </p:nvSpPr>
        <p:spPr bwMode="auto">
          <a:xfrm>
            <a:off x="988488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5" name="Rectangle 54" hidden="1">
            <a:extLst>
              <a:ext uri="{FF2B5EF4-FFF2-40B4-BE49-F238E27FC236}">
                <a16:creationId xmlns:a16="http://schemas.microsoft.com/office/drawing/2014/main" id="{AD44AB08-DD17-4FF8-A996-8A8932CB4182}"/>
              </a:ext>
            </a:extLst>
          </p:cNvPr>
          <p:cNvSpPr/>
          <p:nvPr userDrawn="1">
            <p:custDataLst>
              <p:tags r:id="rId96"/>
            </p:custDataLst>
          </p:nvPr>
        </p:nvSpPr>
        <p:spPr bwMode="auto">
          <a:xfrm>
            <a:off x="1004316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6" name="Rectangle 55" hidden="1">
            <a:extLst>
              <a:ext uri="{FF2B5EF4-FFF2-40B4-BE49-F238E27FC236}">
                <a16:creationId xmlns:a16="http://schemas.microsoft.com/office/drawing/2014/main" id="{46D505CB-CDC8-44B7-8545-75EC78A4AC6F}"/>
              </a:ext>
            </a:extLst>
          </p:cNvPr>
          <p:cNvSpPr/>
          <p:nvPr userDrawn="1">
            <p:custDataLst>
              <p:tags r:id="rId97"/>
            </p:custDataLst>
          </p:nvPr>
        </p:nvSpPr>
        <p:spPr bwMode="auto">
          <a:xfrm>
            <a:off x="1047984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7" name="Rectangle 56" hidden="1">
            <a:extLst>
              <a:ext uri="{FF2B5EF4-FFF2-40B4-BE49-F238E27FC236}">
                <a16:creationId xmlns:a16="http://schemas.microsoft.com/office/drawing/2014/main" id="{022491E2-BAB2-4C8A-9E7F-61D149A10F87}"/>
              </a:ext>
            </a:extLst>
          </p:cNvPr>
          <p:cNvSpPr/>
          <p:nvPr userDrawn="1">
            <p:custDataLst>
              <p:tags r:id="rId98"/>
            </p:custDataLst>
          </p:nvPr>
        </p:nvSpPr>
        <p:spPr bwMode="auto">
          <a:xfrm>
            <a:off x="1063824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8" name="Rectangle 57" hidden="1">
            <a:extLst>
              <a:ext uri="{FF2B5EF4-FFF2-40B4-BE49-F238E27FC236}">
                <a16:creationId xmlns:a16="http://schemas.microsoft.com/office/drawing/2014/main" id="{75706AA0-9A93-47AB-8349-BF53B98FA93A}"/>
              </a:ext>
            </a:extLst>
          </p:cNvPr>
          <p:cNvSpPr/>
          <p:nvPr userDrawn="1">
            <p:custDataLst>
              <p:tags r:id="rId99"/>
            </p:custDataLst>
          </p:nvPr>
        </p:nvSpPr>
        <p:spPr bwMode="auto">
          <a:xfrm>
            <a:off x="11074920" y="860400"/>
            <a:ext cx="15840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59" name="Rectangle 58" hidden="1">
            <a:extLst>
              <a:ext uri="{FF2B5EF4-FFF2-40B4-BE49-F238E27FC236}">
                <a16:creationId xmlns:a16="http://schemas.microsoft.com/office/drawing/2014/main" id="{22CB265A-17AF-4F60-8BB9-A9E325A206EE}"/>
              </a:ext>
            </a:extLst>
          </p:cNvPr>
          <p:cNvSpPr/>
          <p:nvPr userDrawn="1">
            <p:custDataLst>
              <p:tags r:id="rId100"/>
            </p:custDataLst>
          </p:nvPr>
        </p:nvSpPr>
        <p:spPr bwMode="auto">
          <a:xfrm>
            <a:off x="11233320" y="860400"/>
            <a:ext cx="436680" cy="5389200"/>
          </a:xfrm>
          <a:prstGeom prst="rect">
            <a:avLst/>
          </a:prstGeom>
          <a:solidFill>
            <a:srgbClr val="EAEAEA">
              <a:alpha val="50000"/>
            </a:srgbClr>
          </a:solidFill>
          <a:ln w="9525" cap="flat" cmpd="sng" algn="ctr">
            <a:solidFill>
              <a:schemeClr val="accent4">
                <a:alpha val="0"/>
              </a:schemeClr>
            </a:solidFill>
            <a:prstDash val="solid"/>
            <a:round/>
            <a:headEnd type="none" w="med" len="med"/>
            <a:tailEnd type="triangle" w="lg" len="med"/>
          </a:ln>
          <a:effectLst/>
        </p:spPr>
        <p:txBody>
          <a:bodyPr vert="horz" wrap="square" lIns="72000" tIns="36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400" b="0" i="0" u="none" strike="noStrike" cap="none" normalizeH="0" baseline="0" noProof="0" err="1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3ADE5F63-220D-4730-B0C7-6FC12552445B}"/>
              </a:ext>
            </a:extLst>
          </p:cNvPr>
          <p:cNvSpPr>
            <a:spLocks noChangeAspect="1"/>
          </p:cNvSpPr>
          <p:nvPr userDrawn="1"/>
        </p:nvSpPr>
        <p:spPr bwMode="gray">
          <a:xfrm rot="10800000" flipH="1" flipV="1">
            <a:off x="788400" y="6293236"/>
            <a:ext cx="169200" cy="564762"/>
          </a:xfrm>
          <a:custGeom>
            <a:avLst/>
            <a:gdLst>
              <a:gd name="connsiteX0" fmla="*/ 170352 w 170352"/>
              <a:gd name="connsiteY0" fmla="*/ 568607 h 568607"/>
              <a:gd name="connsiteX1" fmla="*/ 0 w 170352"/>
              <a:gd name="connsiteY1" fmla="*/ 568607 h 568607"/>
              <a:gd name="connsiteX2" fmla="*/ 0 w 170352"/>
              <a:gd name="connsiteY2" fmla="*/ 120791 h 568607"/>
              <a:gd name="connsiteX3" fmla="*/ 170352 w 170352"/>
              <a:gd name="connsiteY3" fmla="*/ 0 h 5686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0352" h="568607">
                <a:moveTo>
                  <a:pt x="170352" y="568607"/>
                </a:moveTo>
                <a:lnTo>
                  <a:pt x="0" y="568607"/>
                </a:lnTo>
                <a:lnTo>
                  <a:pt x="0" y="120791"/>
                </a:lnTo>
                <a:lnTo>
                  <a:pt x="170352" y="0"/>
                </a:lnTo>
                <a:close/>
              </a:path>
            </a:pathLst>
          </a:custGeom>
          <a:solidFill>
            <a:srgbClr val="ED1A3B"/>
          </a:solidFill>
          <a:ln w="3175">
            <a:noFill/>
            <a:round/>
            <a:headEnd/>
            <a:tailEnd/>
          </a:ln>
        </p:spPr>
        <p:txBody>
          <a:bodyPr wrap="square" lIns="121903" tIns="60952" rIns="121903" bIns="60952">
            <a:noAutofit/>
          </a:bodyPr>
          <a:lstStyle/>
          <a:p>
            <a:pPr algn="ctr">
              <a:defRPr/>
            </a:pPr>
            <a:endParaRPr lang="nb-NO" sz="3200"/>
          </a:p>
        </p:txBody>
      </p:sp>
    </p:spTree>
    <p:extLst>
      <p:ext uri="{BB962C8B-B14F-4D97-AF65-F5344CB8AC3E}">
        <p14:creationId xmlns:p14="http://schemas.microsoft.com/office/powerpoint/2010/main" val="2301867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09" r:id="rId37"/>
    <p:sldLayoutId id="2147483710" r:id="rId38"/>
    <p:sldLayoutId id="2147483711" r:id="rId39"/>
    <p:sldLayoutId id="2147483712" r:id="rId40"/>
    <p:sldLayoutId id="2147483713" r:id="rId41"/>
    <p:sldLayoutId id="2147483714" r:id="rId42"/>
    <p:sldLayoutId id="2147483715" r:id="rId43"/>
    <p:sldLayoutId id="2147483716" r:id="rId44"/>
    <p:sldLayoutId id="2147483717" r:id="rId45"/>
    <p:sldLayoutId id="2147483718" r:id="rId46"/>
    <p:sldLayoutId id="2147483719" r:id="rId47"/>
    <p:sldLayoutId id="2147483720" r:id="rId48"/>
    <p:sldLayoutId id="2147483721" r:id="rId49"/>
    <p:sldLayoutId id="2147483722" r:id="rId50"/>
    <p:sldLayoutId id="2147483723" r:id="rId51"/>
    <p:sldLayoutId id="2147483724" r:id="rId52"/>
    <p:sldLayoutId id="2147483725" r:id="rId53"/>
    <p:sldLayoutId id="2147483726" r:id="rId54"/>
    <p:sldLayoutId id="2147483727" r:id="rId55"/>
    <p:sldLayoutId id="2147483728" r:id="rId56"/>
    <p:sldLayoutId id="2147483729" r:id="rId57"/>
    <p:sldLayoutId id="2147483730" r:id="rId58"/>
    <p:sldLayoutId id="2147483731" r:id="rId59"/>
    <p:sldLayoutId id="2147483732" r:id="rId60"/>
    <p:sldLayoutId id="2147483733" r:id="rId61"/>
  </p:sldLayoutIdLst>
  <p:hf hdr="0"/>
  <p:txStyles>
    <p:titleStyle>
      <a:lvl1pPr algn="l" defTabSz="1218786" rtl="0" eaLnBrk="1" latinLnBrk="0" hangingPunct="1">
        <a:lnSpc>
          <a:spcPct val="88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rgbClr val="ED1A3B"/>
        </a:buClr>
        <a:buFont typeface="Trebuchet MS" panose="020B0603020202020204" pitchFamily="34" charset="0"/>
        <a:buChar char="●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21600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Trebuchet MS" panose="020B0603020202020204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18000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00000"/>
        <a:buFont typeface="Trebuchet MS" panose="020B0603020202020204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92000" indent="-14400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Font typeface="Trebuchet MS" panose="020B0603020202020204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​"/>
        <a:defRPr sz="1400" b="1" kern="1200" cap="all" baseline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​"/>
        <a:defRPr lang="en-GB" sz="16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218786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1"/>
        </a:buClr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1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86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78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570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962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355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748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141" algn="l" defTabSz="1218786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pos="603">
          <p15:clr>
            <a:srgbClr val="F26B43"/>
          </p15:clr>
        </p15:guide>
        <p15:guide id="4" orient="horz" pos="3936">
          <p15:clr>
            <a:srgbClr val="F26B43"/>
          </p15:clr>
        </p15:guide>
        <p15:guide id="5" pos="703">
          <p15:clr>
            <a:srgbClr val="F26B43"/>
          </p15:clr>
        </p15:guide>
        <p15:guide id="6" pos="978">
          <p15:clr>
            <a:srgbClr val="F26B43"/>
          </p15:clr>
        </p15:guide>
        <p15:guide id="7" pos="1078">
          <p15:clr>
            <a:srgbClr val="F26B43"/>
          </p15:clr>
        </p15:guide>
        <p15:guide id="8" pos="1353">
          <p15:clr>
            <a:srgbClr val="F26B43"/>
          </p15:clr>
        </p15:guide>
        <p15:guide id="9" pos="1453">
          <p15:clr>
            <a:srgbClr val="F26B43"/>
          </p15:clr>
        </p15:guide>
        <p15:guide id="10" pos="1728">
          <p15:clr>
            <a:srgbClr val="F26B43"/>
          </p15:clr>
        </p15:guide>
        <p15:guide id="11" pos="1828">
          <p15:clr>
            <a:srgbClr val="F26B43"/>
          </p15:clr>
        </p15:guide>
        <p15:guide id="12" pos="2103">
          <p15:clr>
            <a:srgbClr val="F26B43"/>
          </p15:clr>
        </p15:guide>
        <p15:guide id="13" pos="2203">
          <p15:clr>
            <a:srgbClr val="F26B43"/>
          </p15:clr>
        </p15:guide>
        <p15:guide id="14" pos="2478">
          <p15:clr>
            <a:srgbClr val="F26B43"/>
          </p15:clr>
        </p15:guide>
        <p15:guide id="15" pos="2577">
          <p15:clr>
            <a:srgbClr val="F26B43"/>
          </p15:clr>
        </p15:guide>
        <p15:guide id="16" pos="2853">
          <p15:clr>
            <a:srgbClr val="F26B43"/>
          </p15:clr>
        </p15:guide>
        <p15:guide id="17" pos="2952">
          <p15:clr>
            <a:srgbClr val="F26B43"/>
          </p15:clr>
        </p15:guide>
        <p15:guide id="18" pos="3227">
          <p15:clr>
            <a:srgbClr val="F26B43"/>
          </p15:clr>
        </p15:guide>
        <p15:guide id="19" pos="3327">
          <p15:clr>
            <a:srgbClr val="F26B43"/>
          </p15:clr>
        </p15:guide>
        <p15:guide id="20" pos="3602">
          <p15:clr>
            <a:srgbClr val="F26B43"/>
          </p15:clr>
        </p15:guide>
        <p15:guide id="21" pos="3702">
          <p15:clr>
            <a:srgbClr val="F26B43"/>
          </p15:clr>
        </p15:guide>
        <p15:guide id="22" pos="3977">
          <p15:clr>
            <a:srgbClr val="F26B43"/>
          </p15:clr>
        </p15:guide>
        <p15:guide id="23" pos="4077">
          <p15:clr>
            <a:srgbClr val="F26B43"/>
          </p15:clr>
        </p15:guide>
        <p15:guide id="24" pos="4352">
          <p15:clr>
            <a:srgbClr val="F26B43"/>
          </p15:clr>
        </p15:guide>
        <p15:guide id="25" pos="4452">
          <p15:clr>
            <a:srgbClr val="F26B43"/>
          </p15:clr>
        </p15:guide>
        <p15:guide id="26" pos="4727">
          <p15:clr>
            <a:srgbClr val="F26B43"/>
          </p15:clr>
        </p15:guide>
        <p15:guide id="27" pos="4827">
          <p15:clr>
            <a:srgbClr val="F26B43"/>
          </p15:clr>
        </p15:guide>
        <p15:guide id="28" pos="5102">
          <p15:clr>
            <a:srgbClr val="F26B43"/>
          </p15:clr>
        </p15:guide>
        <p15:guide id="29" pos="5201">
          <p15:clr>
            <a:srgbClr val="F26B43"/>
          </p15:clr>
        </p15:guide>
        <p15:guide id="30" pos="5476">
          <p15:clr>
            <a:srgbClr val="F26B43"/>
          </p15:clr>
        </p15:guide>
        <p15:guide id="31" pos="5576">
          <p15:clr>
            <a:srgbClr val="F26B43"/>
          </p15:clr>
        </p15:guide>
        <p15:guide id="32" pos="5851">
          <p15:clr>
            <a:srgbClr val="F26B43"/>
          </p15:clr>
        </p15:guide>
        <p15:guide id="33" pos="5951">
          <p15:clr>
            <a:srgbClr val="F26B43"/>
          </p15:clr>
        </p15:guide>
        <p15:guide id="34" pos="6226">
          <p15:clr>
            <a:srgbClr val="F26B43"/>
          </p15:clr>
        </p15:guide>
        <p15:guide id="35" pos="6326">
          <p15:clr>
            <a:srgbClr val="F26B43"/>
          </p15:clr>
        </p15:guide>
        <p15:guide id="36" pos="6601">
          <p15:clr>
            <a:srgbClr val="F26B43"/>
          </p15:clr>
        </p15:guide>
        <p15:guide id="37" pos="6701">
          <p15:clr>
            <a:srgbClr val="F26B43"/>
          </p15:clr>
        </p15:guide>
        <p15:guide id="38" pos="6976">
          <p15:clr>
            <a:srgbClr val="F26B43"/>
          </p15:clr>
        </p15:guide>
        <p15:guide id="39" pos="7076">
          <p15:clr>
            <a:srgbClr val="F26B43"/>
          </p15:clr>
        </p15:guide>
        <p15:guide id="40" pos="7351">
          <p15:clr>
            <a:srgbClr val="F26B43"/>
          </p15:clr>
        </p15:guide>
        <p15:guide id="42" orient="horz" pos="3748">
          <p15:clr>
            <a:srgbClr val="F26B43"/>
          </p15:clr>
        </p15:guide>
        <p15:guide id="44" orient="horz" pos="1199">
          <p15:clr>
            <a:srgbClr val="F26B43"/>
          </p15:clr>
        </p15:guide>
        <p15:guide id="45" orient="horz" pos="48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5B555A-54D2-5B63-AC36-9F16C49B46D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EC75EE-CECD-C780-D1DC-02B2FD9077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1488" y="1224353"/>
            <a:ext cx="5700091" cy="4852150"/>
          </a:xfrm>
          <a:prstGeom prst="rect">
            <a:avLst/>
          </a:prstGeom>
        </p:spPr>
      </p:pic>
      <p:grpSp>
        <p:nvGrpSpPr>
          <p:cNvPr id="150" name="Group 149">
            <a:extLst>
              <a:ext uri="{FF2B5EF4-FFF2-40B4-BE49-F238E27FC236}">
                <a16:creationId xmlns:a16="http://schemas.microsoft.com/office/drawing/2014/main" id="{B0774518-B8CA-FB93-3A80-514C5D0BE648}"/>
              </a:ext>
            </a:extLst>
          </p:cNvPr>
          <p:cNvGrpSpPr/>
          <p:nvPr/>
        </p:nvGrpSpPr>
        <p:grpSpPr>
          <a:xfrm>
            <a:off x="3856557" y="6088448"/>
            <a:ext cx="4478886" cy="983901"/>
            <a:chOff x="3856557" y="6088448"/>
            <a:chExt cx="4478886" cy="983901"/>
          </a:xfrm>
        </p:grpSpPr>
        <p:pic>
          <p:nvPicPr>
            <p:cNvPr id="151" name="Picture 150" descr="A picture containing metalware, chain&#10;&#10;Description automatically generated">
              <a:extLst>
                <a:ext uri="{FF2B5EF4-FFF2-40B4-BE49-F238E27FC236}">
                  <a16:creationId xmlns:a16="http://schemas.microsoft.com/office/drawing/2014/main" id="{BC2CF59E-858E-C8E1-6FC6-7D1744BE5D3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50306" y="6088448"/>
              <a:ext cx="738352" cy="983901"/>
            </a:xfrm>
            <a:prstGeom prst="rect">
              <a:avLst/>
            </a:prstGeom>
          </p:spPr>
        </p:pic>
        <p:pic>
          <p:nvPicPr>
            <p:cNvPr id="152" name="Picture 151" descr="A picture containing metalware, chain&#10;&#10;Description automatically generated">
              <a:extLst>
                <a:ext uri="{FF2B5EF4-FFF2-40B4-BE49-F238E27FC236}">
                  <a16:creationId xmlns:a16="http://schemas.microsoft.com/office/drawing/2014/main" id="{97D7B499-ABFD-ABF2-9AE8-E363A8AB0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28272" y="6088448"/>
              <a:ext cx="738352" cy="983901"/>
            </a:xfrm>
            <a:prstGeom prst="rect">
              <a:avLst/>
            </a:prstGeom>
          </p:spPr>
        </p:pic>
        <p:pic>
          <p:nvPicPr>
            <p:cNvPr id="153" name="Picture 152" descr="A picture containing metalware, chain&#10;&#10;Description automatically generated">
              <a:extLst>
                <a:ext uri="{FF2B5EF4-FFF2-40B4-BE49-F238E27FC236}">
                  <a16:creationId xmlns:a16="http://schemas.microsoft.com/office/drawing/2014/main" id="{26C7330D-603F-C1DB-4613-58559170A4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81811" y="6088448"/>
              <a:ext cx="738352" cy="983901"/>
            </a:xfrm>
            <a:prstGeom prst="rect">
              <a:avLst/>
            </a:prstGeom>
          </p:spPr>
        </p:pic>
        <p:pic>
          <p:nvPicPr>
            <p:cNvPr id="154" name="Picture 153" descr="A picture containing metalware, chain&#10;&#10;Description automatically generated">
              <a:extLst>
                <a:ext uri="{FF2B5EF4-FFF2-40B4-BE49-F238E27FC236}">
                  <a16:creationId xmlns:a16="http://schemas.microsoft.com/office/drawing/2014/main" id="{FF00D3D1-38AF-DB10-4582-E0420DCB5F2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9777" y="6088448"/>
              <a:ext cx="738352" cy="983901"/>
            </a:xfrm>
            <a:prstGeom prst="rect">
              <a:avLst/>
            </a:prstGeom>
          </p:spPr>
        </p:pic>
        <p:pic>
          <p:nvPicPr>
            <p:cNvPr id="155" name="Picture 154" descr="A picture containing metalware, chain&#10;&#10;Description automatically generated">
              <a:extLst>
                <a:ext uri="{FF2B5EF4-FFF2-40B4-BE49-F238E27FC236}">
                  <a16:creationId xmlns:a16="http://schemas.microsoft.com/office/drawing/2014/main" id="{CB8A8D00-D865-64B3-3933-6920881FF9F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0411" y="6088448"/>
              <a:ext cx="738352" cy="983901"/>
            </a:xfrm>
            <a:prstGeom prst="rect">
              <a:avLst/>
            </a:prstGeom>
          </p:spPr>
        </p:pic>
        <p:grpSp>
          <p:nvGrpSpPr>
            <p:cNvPr id="157" name="Gruppe 14">
              <a:extLst>
                <a:ext uri="{FF2B5EF4-FFF2-40B4-BE49-F238E27FC236}">
                  <a16:creationId xmlns:a16="http://schemas.microsoft.com/office/drawing/2014/main" id="{C1A05A83-25C6-EEA1-5AD0-2F1F7206ED91}"/>
                </a:ext>
              </a:extLst>
            </p:cNvPr>
            <p:cNvGrpSpPr/>
            <p:nvPr/>
          </p:nvGrpSpPr>
          <p:grpSpPr>
            <a:xfrm>
              <a:off x="3856557" y="6376684"/>
              <a:ext cx="4478886" cy="428325"/>
              <a:chOff x="3644912" y="6256680"/>
              <a:chExt cx="4478886" cy="428325"/>
            </a:xfrm>
          </p:grpSpPr>
          <p:pic>
            <p:nvPicPr>
              <p:cNvPr id="158" name="Bilde 7" descr="Et bilde som inneholder tekst, utklipp&#10;&#10;Automatisk generert beskrivelse">
                <a:extLst>
                  <a:ext uri="{FF2B5EF4-FFF2-40B4-BE49-F238E27FC236}">
                    <a16:creationId xmlns:a16="http://schemas.microsoft.com/office/drawing/2014/main" id="{C160F108-438F-749C-8828-B7FBB19A2E5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644912" y="6256680"/>
                <a:ext cx="334302" cy="407431"/>
              </a:xfrm>
              <a:prstGeom prst="rect">
                <a:avLst/>
              </a:prstGeom>
            </p:spPr>
          </p:pic>
          <p:pic>
            <p:nvPicPr>
              <p:cNvPr id="159" name="Bilde 10">
                <a:extLst>
                  <a:ext uri="{FF2B5EF4-FFF2-40B4-BE49-F238E27FC236}">
                    <a16:creationId xmlns:a16="http://schemas.microsoft.com/office/drawing/2014/main" id="{7DB9BC72-4916-7770-4AE8-961EE13251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4460801" y="6256680"/>
                <a:ext cx="344749" cy="407431"/>
              </a:xfrm>
              <a:prstGeom prst="rect">
                <a:avLst/>
              </a:prstGeom>
            </p:spPr>
          </p:pic>
          <p:pic>
            <p:nvPicPr>
              <p:cNvPr id="160" name="Bilde 14" descr="Et bilde som inneholder utklipp&#10;&#10;Automatisk generert beskrivelse">
                <a:extLst>
                  <a:ext uri="{FF2B5EF4-FFF2-40B4-BE49-F238E27FC236}">
                    <a16:creationId xmlns:a16="http://schemas.microsoft.com/office/drawing/2014/main" id="{7A363945-04CF-6F84-3E43-D47F612BA1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295740" y="6256680"/>
                <a:ext cx="334302" cy="428325"/>
              </a:xfrm>
              <a:prstGeom prst="rect">
                <a:avLst/>
              </a:prstGeom>
            </p:spPr>
          </p:pic>
          <p:pic>
            <p:nvPicPr>
              <p:cNvPr id="161" name="Bilde 16">
                <a:extLst>
                  <a:ext uri="{FF2B5EF4-FFF2-40B4-BE49-F238E27FC236}">
                    <a16:creationId xmlns:a16="http://schemas.microsoft.com/office/drawing/2014/main" id="{B58D579D-7786-EEF6-836E-B61EFFD1C2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111629" y="6256680"/>
                <a:ext cx="329079" cy="428325"/>
              </a:xfrm>
              <a:prstGeom prst="rect">
                <a:avLst/>
              </a:prstGeom>
            </p:spPr>
          </p:pic>
          <p:pic>
            <p:nvPicPr>
              <p:cNvPr id="163" name="Bilde 23">
                <a:extLst>
                  <a:ext uri="{FF2B5EF4-FFF2-40B4-BE49-F238E27FC236}">
                    <a16:creationId xmlns:a16="http://schemas.microsoft.com/office/drawing/2014/main" id="{7EC0874A-5709-31E0-003A-CBEC97A38F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6917993" y="6256680"/>
                <a:ext cx="344749" cy="407431"/>
              </a:xfrm>
              <a:prstGeom prst="rect">
                <a:avLst/>
              </a:prstGeom>
            </p:spPr>
          </p:pic>
          <p:pic>
            <p:nvPicPr>
              <p:cNvPr id="164" name="Bilde 33">
                <a:extLst>
                  <a:ext uri="{FF2B5EF4-FFF2-40B4-BE49-F238E27FC236}">
                    <a16:creationId xmlns:a16="http://schemas.microsoft.com/office/drawing/2014/main" id="{6EAF9654-3C94-01B9-2C0C-BC26288741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7752931" y="6256680"/>
                <a:ext cx="370867" cy="428325"/>
              </a:xfrm>
              <a:prstGeom prst="rect">
                <a:avLst/>
              </a:prstGeom>
            </p:spPr>
          </p:pic>
        </p:grpSp>
      </p:grp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8FD23CAE-9B12-993D-63AE-C05A968868C2}"/>
              </a:ext>
            </a:extLst>
          </p:cNvPr>
          <p:cNvSpPr txBox="1">
            <a:spLocks/>
          </p:cNvSpPr>
          <p:nvPr/>
        </p:nvSpPr>
        <p:spPr>
          <a:xfrm>
            <a:off x="2020408" y="1301800"/>
            <a:ext cx="6417090" cy="527430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spcAft>
                <a:spcPts val="80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None/>
              <a:defRPr sz="1400" kern="1200">
                <a:solidFill>
                  <a:schemeClr val="tx1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None/>
              <a:defRPr sz="1000" kern="1200">
                <a:solidFill>
                  <a:schemeClr val="tx1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spcAft>
                <a:spcPts val="800"/>
              </a:spcAft>
              <a:buFont typeface="Arial" panose="020B0604020202020204" pitchFamily="34" charset="0"/>
              <a:buNone/>
              <a:defRPr sz="1000" kern="1200">
                <a:solidFill>
                  <a:schemeClr val="tx1">
                    <a:alpha val="6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nb-NO">
              <a:solidFill>
                <a:schemeClr val="tx1"/>
              </a:solidFill>
            </a:endParaRPr>
          </a:p>
        </p:txBody>
      </p:sp>
      <p:sp>
        <p:nvSpPr>
          <p:cNvPr id="3" name="Tittel 4">
            <a:extLst>
              <a:ext uri="{FF2B5EF4-FFF2-40B4-BE49-F238E27FC236}">
                <a16:creationId xmlns:a16="http://schemas.microsoft.com/office/drawing/2014/main" id="{49880B6B-7897-0E1B-7ED3-77C3FDADD0C6}"/>
              </a:ext>
            </a:extLst>
          </p:cNvPr>
          <p:cNvSpPr txBox="1">
            <a:spLocks/>
          </p:cNvSpPr>
          <p:nvPr/>
        </p:nvSpPr>
        <p:spPr>
          <a:xfrm>
            <a:off x="2254746" y="498140"/>
            <a:ext cx="7592482" cy="614827"/>
          </a:xfrm>
          <a:prstGeom prst="rect">
            <a:avLst/>
          </a:prstGeom>
        </p:spPr>
        <p:txBody>
          <a:bodyPr lIns="91440" tIns="45720" rIns="91440" bIns="45720" anchor="t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nb-NO" sz="3200">
                <a:solidFill>
                  <a:prstClr val="white"/>
                </a:solidFill>
                <a:latin typeface="Calibri"/>
                <a:ea typeface="Calibri"/>
                <a:cs typeface="Calibri"/>
                <a:sym typeface="Helvetica"/>
              </a:rPr>
              <a:t>Aktiviteter høst 2025</a:t>
            </a:r>
            <a:endParaRPr lang="nb-NO" sz="2800">
              <a:solidFill>
                <a:prstClr val="white"/>
              </a:solidFill>
              <a:latin typeface="Calibri" panose="020F0502020204030204" pitchFamily="34" charset="0"/>
              <a:ea typeface="DengXian" panose="02010600030101010101" pitchFamily="2" charset="-122"/>
              <a:cs typeface="Calibri" panose="020F050202020403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54FDAD5-B37F-F52A-0E28-48F5B1887BFC}"/>
              </a:ext>
            </a:extLst>
          </p:cNvPr>
          <p:cNvSpPr txBox="1"/>
          <p:nvPr/>
        </p:nvSpPr>
        <p:spPr>
          <a:xfrm>
            <a:off x="442281" y="1301800"/>
            <a:ext cx="5871172" cy="650389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ea typeface="+mn-lt"/>
                <a:cs typeface="+mn-lt"/>
              </a:rPr>
              <a:t>Møter med Forsvarets logistikkorganisasjon og Forsvarsbygg om videre samarbeid rundt etableringer (Prosjektet)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ea typeface="+mn-lt"/>
                <a:cs typeface="+mn-lt"/>
              </a:rPr>
              <a:t>Møter med Aker, KDA og NAMMO (GRIP)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ea typeface="+mn-lt"/>
                <a:cs typeface="+mn-lt"/>
              </a:rPr>
              <a:t>Etablere en treffpunkter for Forsvaret, Forsvarsindustrien, regionalt næringsliv og plan- og næringssjefer  (Prosjektet)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ea typeface="+mn-lt"/>
                <a:cs typeface="+mn-lt"/>
              </a:rPr>
              <a:t>Etablere Forsvarspolitisk nettverk  (GRIP)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600" dirty="0">
              <a:ea typeface="+mn-lt"/>
              <a:cs typeface="+mn-lt"/>
            </a:endParaRP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nb-NO" sz="1600" dirty="0">
                <a:ea typeface="+mn-lt"/>
                <a:cs typeface="+mn-lt"/>
              </a:rPr>
              <a:t>Utarbeide: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ea typeface="+mn-lt"/>
                <a:cs typeface="+mn-lt"/>
              </a:rPr>
              <a:t>Oversikt over lagerkapasitet og reserver som kan nyttes til dette formålet (Prosjektet)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ea typeface="+mn-lt"/>
                <a:cs typeface="+mn-lt"/>
              </a:rPr>
              <a:t>Innretning på interkommunalt samarbeid og mål (5 år) (GRIP)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600" dirty="0">
                <a:ea typeface="+mn-lt"/>
                <a:cs typeface="+mn-lt"/>
              </a:rPr>
              <a:t>Analyse av behov og muligheter i etterkant av møter med forsvarsindustrien (Prosjektet)</a:t>
            </a: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600" dirty="0">
              <a:ea typeface="+mn-lt"/>
              <a:cs typeface="+mn-lt"/>
            </a:endParaRPr>
          </a:p>
          <a:p>
            <a:pPr marL="285750" indent="-285750">
              <a:buFont typeface="Arial"/>
              <a:buChar char="•"/>
            </a:pPr>
            <a:endParaRPr lang="nb-NO" sz="1600" kern="100" dirty="0">
              <a:ea typeface="+mn-lt"/>
              <a:cs typeface="+mn-lt"/>
            </a:endParaRP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600" kern="100" dirty="0">
              <a:latin typeface="Aptos"/>
              <a:cs typeface="Times New Roman"/>
            </a:endParaRPr>
          </a:p>
          <a:p>
            <a:pPr marL="285750" indent="-285750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endParaRPr lang="nb-NO" sz="1600" kern="100" dirty="0">
              <a:latin typeface="Aptos"/>
              <a:cs typeface="Times New Roman"/>
            </a:endParaRPr>
          </a:p>
          <a:p>
            <a:pPr>
              <a:lnSpc>
                <a:spcPct val="114999"/>
              </a:lnSpc>
              <a:spcAft>
                <a:spcPts val="800"/>
              </a:spcAft>
            </a:pPr>
            <a:endParaRPr lang="nb-NO" sz="2400" kern="100" dirty="0">
              <a:latin typeface="Aptos" panose="020B0004020202020204" pitchFamily="34" charset="0"/>
              <a:ea typeface="Source Sans Pro"/>
              <a:cs typeface="Times New Roman" panose="02020603050405020304" pitchFamily="18" charset="0"/>
            </a:endParaRPr>
          </a:p>
        </p:txBody>
      </p:sp>
      <p:sp>
        <p:nvSpPr>
          <p:cNvPr id="5" name="Pil: femkant 186">
            <a:extLst>
              <a:ext uri="{FF2B5EF4-FFF2-40B4-BE49-F238E27FC236}">
                <a16:creationId xmlns:a16="http://schemas.microsoft.com/office/drawing/2014/main" id="{974937E3-7577-588E-777D-6EA11DE41929}"/>
              </a:ext>
            </a:extLst>
          </p:cNvPr>
          <p:cNvSpPr/>
          <p:nvPr/>
        </p:nvSpPr>
        <p:spPr>
          <a:xfrm>
            <a:off x="6271310" y="3454208"/>
            <a:ext cx="5460726" cy="307771"/>
          </a:xfrm>
          <a:prstGeom prst="homePlate">
            <a:avLst>
              <a:gd name="adj" fmla="val 58675"/>
            </a:avLst>
          </a:prstGeom>
          <a:solidFill>
            <a:srgbClr val="FFFF00"/>
          </a:solidFill>
          <a:ln w="3175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lvl="0" indent="0" algn="l" defTabSz="60958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+mn-ea"/>
                <a:cs typeface="+mn-cs"/>
                <a:sym typeface="Helvetica"/>
              </a:rPr>
              <a:t>Leverandørutviklingsprogram; for regionalt </a:t>
            </a:r>
            <a:r>
              <a:rPr kumimoji="0" lang="nb-NO" sz="1200" b="1" i="0" u="none" strike="noStrike" kern="1200" cap="none" spc="0" normalizeH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ource Sans Pro"/>
                <a:ea typeface="+mn-ea"/>
                <a:cs typeface="+mn-cs"/>
                <a:sym typeface="Helvetica"/>
              </a:rPr>
              <a:t>næringsliv</a:t>
            </a:r>
            <a:endParaRPr kumimoji="0" lang="nb-NO" sz="1200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ource Sans Pro"/>
              <a:ea typeface="+mn-ea"/>
              <a:cs typeface="+mn-cs"/>
              <a:sym typeface="Helvetica"/>
            </a:endParaRPr>
          </a:p>
        </p:txBody>
      </p:sp>
      <p:sp>
        <p:nvSpPr>
          <p:cNvPr id="6" name="Pil: femkant 186">
            <a:extLst>
              <a:ext uri="{FF2B5EF4-FFF2-40B4-BE49-F238E27FC236}">
                <a16:creationId xmlns:a16="http://schemas.microsoft.com/office/drawing/2014/main" id="{57B4EBA2-40F6-77D7-9BE3-2DD6F4D2628C}"/>
              </a:ext>
            </a:extLst>
          </p:cNvPr>
          <p:cNvSpPr/>
          <p:nvPr/>
        </p:nvSpPr>
        <p:spPr>
          <a:xfrm>
            <a:off x="6261488" y="3153398"/>
            <a:ext cx="5460726" cy="307771"/>
          </a:xfrm>
          <a:prstGeom prst="homePlate">
            <a:avLst>
              <a:gd name="adj" fmla="val 58675"/>
            </a:avLst>
          </a:prstGeom>
          <a:solidFill>
            <a:srgbClr val="7030A0"/>
          </a:solidFill>
          <a:ln w="3175" cap="flat">
            <a:solidFill>
              <a:schemeClr val="bg1"/>
            </a:solidFill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60957" tIns="60957" rIns="60957" bIns="60957" numCol="1" spcCol="38100" rtlCol="0" anchor="ctr">
            <a:spAutoFit/>
          </a:bodyPr>
          <a:lstStyle/>
          <a:p>
            <a:pPr marL="0" marR="0" lvl="0" indent="0" algn="l" defTabSz="609585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Source Sans Pro"/>
                <a:ea typeface="+mn-ea"/>
                <a:cs typeface="+mn-cs"/>
                <a:sym typeface="Helvetica"/>
              </a:rPr>
              <a:t>Interkommunalt samarbeid Plan og Nær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4BBC0AC-F5A0-622D-760B-FBFE11DE68DE}"/>
              </a:ext>
            </a:extLst>
          </p:cNvPr>
          <p:cNvSpPr/>
          <p:nvPr/>
        </p:nvSpPr>
        <p:spPr>
          <a:xfrm>
            <a:off x="7008306" y="1704427"/>
            <a:ext cx="1429192" cy="32737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/>
              <a:t>Møter Forsvarsindustri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7A086AA-B071-EADB-1331-1A3B4AF97F6C}"/>
              </a:ext>
            </a:extLst>
          </p:cNvPr>
          <p:cNvSpPr/>
          <p:nvPr/>
        </p:nvSpPr>
        <p:spPr>
          <a:xfrm>
            <a:off x="9997942" y="2223343"/>
            <a:ext cx="1558519" cy="347331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>
                <a:solidFill>
                  <a:schemeClr val="bg1"/>
                </a:solidFill>
              </a:rPr>
              <a:t>Møteserie plan- og næring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AB8585A-7116-84BF-49AA-A463F3E30441}"/>
              </a:ext>
            </a:extLst>
          </p:cNvPr>
          <p:cNvSpPr/>
          <p:nvPr/>
        </p:nvSpPr>
        <p:spPr>
          <a:xfrm>
            <a:off x="8899568" y="2431291"/>
            <a:ext cx="710250" cy="32737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dirty="0"/>
              <a:t>Møte FB FLO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15553A-B344-D4E3-8F74-9EBCAB5C2379}"/>
              </a:ext>
            </a:extLst>
          </p:cNvPr>
          <p:cNvSpPr/>
          <p:nvPr/>
        </p:nvSpPr>
        <p:spPr>
          <a:xfrm>
            <a:off x="10521521" y="2788715"/>
            <a:ext cx="1210515" cy="327377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/>
              <a:t>Forsvarspolitisk nettver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F44FC4B-D3A2-6662-46CF-E6DBEE796A00}"/>
              </a:ext>
            </a:extLst>
          </p:cNvPr>
          <p:cNvSpPr/>
          <p:nvPr/>
        </p:nvSpPr>
        <p:spPr>
          <a:xfrm>
            <a:off x="6261487" y="2247197"/>
            <a:ext cx="2405555" cy="3043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dirty="0"/>
              <a:t>Kartlegge lagerkapasitet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8E0EB72-39C3-5AD0-B507-E325BD5F19D0}"/>
              </a:ext>
            </a:extLst>
          </p:cNvPr>
          <p:cNvSpPr/>
          <p:nvPr/>
        </p:nvSpPr>
        <p:spPr>
          <a:xfrm>
            <a:off x="6271309" y="2700181"/>
            <a:ext cx="2398715" cy="30777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dirty="0">
                <a:solidFill>
                  <a:schemeClr val="bg1"/>
                </a:solidFill>
              </a:rPr>
              <a:t>Kartlegge næringsliv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788DADA-16AF-6D24-58DC-4144ABCA5372}"/>
              </a:ext>
            </a:extLst>
          </p:cNvPr>
          <p:cNvSpPr/>
          <p:nvPr/>
        </p:nvSpPr>
        <p:spPr>
          <a:xfrm>
            <a:off x="8899568" y="1674177"/>
            <a:ext cx="1479844" cy="45630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b="1" dirty="0"/>
              <a:t>Analyse behov og investering</a:t>
            </a:r>
          </a:p>
        </p:txBody>
      </p:sp>
    </p:spTree>
    <p:extLst>
      <p:ext uri="{BB962C8B-B14F-4D97-AF65-F5344CB8AC3E}">
        <p14:creationId xmlns:p14="http://schemas.microsoft.com/office/powerpoint/2010/main" val="10099596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[SUBGRID]" val="[SubGrid]"/>
</p:tagLst>
</file>

<file path=ppt/theme/theme1.xml><?xml version="1.0" encoding="utf-8"?>
<a:theme xmlns:a="http://schemas.openxmlformats.org/drawingml/2006/main" name="3DFloatVTI">
  <a:themeElements>
    <a:clrScheme name="Float">
      <a:dk1>
        <a:sysClr val="windowText" lastClr="000000"/>
      </a:dk1>
      <a:lt1>
        <a:sysClr val="window" lastClr="FFFFFF"/>
      </a:lt1>
      <a:dk2>
        <a:srgbClr val="1B192E"/>
      </a:dk2>
      <a:lt2>
        <a:srgbClr val="EAE5EB"/>
      </a:lt2>
      <a:accent1>
        <a:srgbClr val="13BE89"/>
      </a:accent1>
      <a:accent2>
        <a:srgbClr val="12B1BF"/>
      </a:accent2>
      <a:accent3>
        <a:srgbClr val="D40AA8"/>
      </a:accent3>
      <a:accent4>
        <a:srgbClr val="B86E62"/>
      </a:accent4>
      <a:accent5>
        <a:srgbClr val="A3A3C1"/>
      </a:accent5>
      <a:accent6>
        <a:srgbClr val="37335B"/>
      </a:accent6>
      <a:hlink>
        <a:srgbClr val="0066FF"/>
      </a:hlink>
      <a:folHlink>
        <a:srgbClr val="666699"/>
      </a:folHlink>
    </a:clrScheme>
    <a:fontScheme name="Float">
      <a:majorFont>
        <a:latin typeface="Sitka Heading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3DFloatVTI" id="{F59BA300-ED19-4B39-9AE3-7882B1DE8B78}" vid="{0FEC63E3-719F-4F50-9F1E-5B8BAF39109A}"/>
    </a:ext>
  </a:extLst>
</a:theme>
</file>

<file path=ppt/theme/theme2.xml><?xml version="1.0" encoding="utf-8"?>
<a:theme xmlns:a="http://schemas.openxmlformats.org/drawingml/2006/main" name="BDO Wide Presentasjon">
  <a:themeElements>
    <a:clrScheme name="BDO NO">
      <a:dk1>
        <a:srgbClr val="404040"/>
      </a:dk1>
      <a:lt1>
        <a:srgbClr val="FFFFFF"/>
      </a:lt1>
      <a:dk2>
        <a:srgbClr val="404040"/>
      </a:dk2>
      <a:lt2>
        <a:srgbClr val="E7E7E7"/>
      </a:lt2>
      <a:accent1>
        <a:srgbClr val="697D93"/>
      </a:accent1>
      <a:accent2>
        <a:srgbClr val="02A5E2"/>
      </a:accent2>
      <a:accent3>
        <a:srgbClr val="404040"/>
      </a:accent3>
      <a:accent4>
        <a:srgbClr val="C9C6C5"/>
      </a:accent4>
      <a:accent5>
        <a:srgbClr val="218F8B"/>
      </a:accent5>
      <a:accent6>
        <a:srgbClr val="104745"/>
      </a:accent6>
      <a:hlink>
        <a:srgbClr val="ED1A3B"/>
      </a:hlink>
      <a:folHlink>
        <a:srgbClr val="7030A0"/>
      </a:folHlink>
    </a:clrScheme>
    <a:fontScheme name="BDO Template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triangle" w="lg" len="med"/>
        </a:ln>
        <a:effectLst/>
      </a:spPr>
      <a:bodyPr vert="horz" wrap="square" lIns="72000" tIns="36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noProof="0" dirty="0" err="1" smtClean="0">
            <a:ln>
              <a:noFill/>
            </a:ln>
            <a:solidFill>
              <a:schemeClr val="bg1"/>
            </a:solidFill>
            <a:effectLst/>
          </a:defRPr>
        </a:defPPr>
      </a:lstStyle>
    </a:spDef>
    <a:lnDef>
      <a:spPr bwMode="auto">
        <a:solidFill>
          <a:schemeClr val="accent1"/>
        </a:solidFill>
        <a:ln w="6350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lg" len="med"/>
        </a:ln>
        <a:effectLst/>
      </a:spPr>
      <a:bodyPr/>
      <a:lstStyle/>
    </a:lnDef>
    <a:txDef>
      <a:spPr>
        <a:noFill/>
      </a:spPr>
      <a:bodyPr wrap="square" lIns="0" tIns="0" rIns="0" bIns="0" rtlCol="0"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77EF87E7-155E-4182-8251-F287C18CBEC7}" vid="{CD006AEF-8836-43F8-AC0A-C9D536F326D7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44E4A698BF9C4184333A974FE039CC" ma:contentTypeVersion="13" ma:contentTypeDescription="Opprett et nytt dokument." ma:contentTypeScope="" ma:versionID="682d3901b9aee8cae4c557015fe5a3a4">
  <xsd:schema xmlns:xsd="http://www.w3.org/2001/XMLSchema" xmlns:xs="http://www.w3.org/2001/XMLSchema" xmlns:p="http://schemas.microsoft.com/office/2006/metadata/properties" xmlns:ns2="8b9bc309-2e9d-4b93-b0c2-cc296edf4641" xmlns:ns3="1c289328-7da5-45c0-95b5-b7f1aedba48a" targetNamespace="http://schemas.microsoft.com/office/2006/metadata/properties" ma:root="true" ma:fieldsID="a301a89d60a683b8be0a1831414e0d3b" ns2:_="" ns3:_="">
    <xsd:import namespace="8b9bc309-2e9d-4b93-b0c2-cc296edf4641"/>
    <xsd:import namespace="1c289328-7da5-45c0-95b5-b7f1aedba4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9bc309-2e9d-4b93-b0c2-cc296edf46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Bildemerkelapper" ma:readOnly="false" ma:fieldId="{5cf76f15-5ced-4ddc-b409-7134ff3c332f}" ma:taxonomyMulti="true" ma:sspId="c57c9fcc-febc-4c09-a53b-b581c73d9b8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289328-7da5-45c0-95b5-b7f1aedba48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de95139b-3c16-4263-afa4-3fd6bdfdfddc}" ma:internalName="TaxCatchAll" ma:showField="CatchAllData" ma:web="1c289328-7da5-45c0-95b5-b7f1aedba48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c289328-7da5-45c0-95b5-b7f1aedba48a" xsi:nil="true"/>
    <lcf76f155ced4ddcb4097134ff3c332f xmlns="8b9bc309-2e9d-4b93-b0c2-cc296edf4641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F8787AD-2FFF-466E-9ACF-291217F6E77C}"/>
</file>

<file path=customXml/itemProps2.xml><?xml version="1.0" encoding="utf-8"?>
<ds:datastoreItem xmlns:ds="http://schemas.openxmlformats.org/officeDocument/2006/customXml" ds:itemID="{986516F3-70BC-4E2C-8558-AE60B579697C}">
  <ds:schemaRefs>
    <ds:schemaRef ds:uri="http://schemas.microsoft.com/office/2006/metadata/properties"/>
    <ds:schemaRef ds:uri="http://schemas.microsoft.com/office/infopath/2007/PartnerControls"/>
    <ds:schemaRef ds:uri="http://www.w3.org/2000/xmlns/"/>
  </ds:schemaRefs>
</ds:datastoreItem>
</file>

<file path=customXml/itemProps3.xml><?xml version="1.0" encoding="utf-8"?>
<ds:datastoreItem xmlns:ds="http://schemas.openxmlformats.org/officeDocument/2006/customXml" ds:itemID="{9B208F97-318C-48BD-A3FA-D2B7A5A561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3</Words>
  <Application>Microsoft Office PowerPoint</Application>
  <PresentationFormat>Widescreen</PresentationFormat>
  <Paragraphs>2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SF Pro Text</vt:lpstr>
      <vt:lpstr>Aptos</vt:lpstr>
      <vt:lpstr>Arial</vt:lpstr>
      <vt:lpstr>Calibri</vt:lpstr>
      <vt:lpstr>Sitka Heading</vt:lpstr>
      <vt:lpstr>Source Sans Pro</vt:lpstr>
      <vt:lpstr>Trebuchet MS</vt:lpstr>
      <vt:lpstr>3DFloatVTI</vt:lpstr>
      <vt:lpstr>BDO Wide Presentasjon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Trine Knobel</dc:creator>
  <cp:lastModifiedBy>Sarah Mathea Small</cp:lastModifiedBy>
  <cp:revision>3</cp:revision>
  <dcterms:created xsi:type="dcterms:W3CDTF">2021-11-09T14:08:59Z</dcterms:created>
  <dcterms:modified xsi:type="dcterms:W3CDTF">2025-06-12T14:4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44E4A698BF9C4184333A974FE039CC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</Properties>
</file>